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3" r:id="rId4"/>
    <p:sldMasterId id="2147483757" r:id="rId5"/>
  </p:sldMasterIdLst>
  <p:notesMasterIdLst>
    <p:notesMasterId r:id="rId35"/>
  </p:notesMasterIdLst>
  <p:handoutMasterIdLst>
    <p:handoutMasterId r:id="rId36"/>
  </p:handoutMasterIdLst>
  <p:sldIdLst>
    <p:sldId id="2038388951" r:id="rId6"/>
    <p:sldId id="301" r:id="rId7"/>
    <p:sldId id="2038389076" r:id="rId8"/>
    <p:sldId id="2038389050" r:id="rId9"/>
    <p:sldId id="2145707681" r:id="rId10"/>
    <p:sldId id="2038389051" r:id="rId11"/>
    <p:sldId id="2038389055" r:id="rId12"/>
    <p:sldId id="2038389045" r:id="rId13"/>
    <p:sldId id="2038389067" r:id="rId14"/>
    <p:sldId id="2038389066" r:id="rId15"/>
    <p:sldId id="2038388968" r:id="rId16"/>
    <p:sldId id="2038389058" r:id="rId17"/>
    <p:sldId id="2038389073" r:id="rId18"/>
    <p:sldId id="2145707691" r:id="rId19"/>
    <p:sldId id="2145707693" r:id="rId20"/>
    <p:sldId id="2145707682" r:id="rId21"/>
    <p:sldId id="2145707692" r:id="rId22"/>
    <p:sldId id="2038389070" r:id="rId23"/>
    <p:sldId id="2038389078" r:id="rId24"/>
    <p:sldId id="2038389072" r:id="rId25"/>
    <p:sldId id="2038389063" r:id="rId26"/>
    <p:sldId id="2038389080" r:id="rId27"/>
    <p:sldId id="2008011472" r:id="rId28"/>
    <p:sldId id="2008011473" r:id="rId29"/>
    <p:sldId id="2008011474" r:id="rId30"/>
    <p:sldId id="2008011475" r:id="rId31"/>
    <p:sldId id="319" r:id="rId32"/>
    <p:sldId id="2008011476" r:id="rId33"/>
    <p:sldId id="2008011477" r:id="rId34"/>
  </p:sldIdLst>
  <p:sldSz cx="13442950" cy="7561263"/>
  <p:notesSz cx="6797675" cy="9926638"/>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7E312EDA-28DA-4EA9-9767-911A8F166E0A}">
          <p14:sldIdLst>
            <p14:sldId id="2038388951"/>
            <p14:sldId id="301"/>
            <p14:sldId id="2038389076"/>
            <p14:sldId id="2038389050"/>
            <p14:sldId id="2145707681"/>
            <p14:sldId id="2038389051"/>
            <p14:sldId id="2038389055"/>
            <p14:sldId id="2038389045"/>
            <p14:sldId id="2038389067"/>
            <p14:sldId id="2038389066"/>
            <p14:sldId id="2038388968"/>
            <p14:sldId id="2038389058"/>
            <p14:sldId id="2038389073"/>
            <p14:sldId id="2145707691"/>
            <p14:sldId id="2145707693"/>
            <p14:sldId id="2145707682"/>
            <p14:sldId id="2145707692"/>
            <p14:sldId id="2038389070"/>
            <p14:sldId id="2038389078"/>
            <p14:sldId id="2038389072"/>
            <p14:sldId id="2038389063"/>
            <p14:sldId id="2038389080"/>
            <p14:sldId id="2008011472"/>
            <p14:sldId id="2008011473"/>
            <p14:sldId id="2008011474"/>
            <p14:sldId id="2008011475"/>
            <p14:sldId id="319"/>
            <p14:sldId id="2008011476"/>
            <p14:sldId id="2008011477"/>
          </p14:sldIdLst>
        </p14:section>
      </p14:sectionLst>
    </p:ext>
    <p:ext uri="{EFAFB233-063F-42B5-8137-9DF3F51BA10A}">
      <p15:sldGuideLst xmlns:p15="http://schemas.microsoft.com/office/powerpoint/2012/main">
        <p15:guide id="1" orient="horz" pos="2382" userDrawn="1">
          <p15:clr>
            <a:srgbClr val="A4A3A4"/>
          </p15:clr>
        </p15:guide>
        <p15:guide id="2" pos="66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 BREZINSCHEK" initials="PB" lastIdx="4" clrIdx="0">
    <p:extLst>
      <p:ext uri="{19B8F6BF-5375-455C-9EA6-DF929625EA0E}">
        <p15:presenceInfo xmlns:p15="http://schemas.microsoft.com/office/powerpoint/2012/main" userId="Peter BREZINSCHEK" providerId="None"/>
      </p:ext>
    </p:extLst>
  </p:cmAuthor>
  <p:cmAuthor id="2" name="Martin HAMAK" initials="MH" lastIdx="1" clrIdx="1">
    <p:extLst>
      <p:ext uri="{19B8F6BF-5375-455C-9EA6-DF929625EA0E}">
        <p15:presenceInfo xmlns:p15="http://schemas.microsoft.com/office/powerpoint/2012/main" userId="Martin HAMAK" providerId="None"/>
      </p:ext>
    </p:extLst>
  </p:cmAuthor>
  <p:cmAuthor id="3" name="Stephan IMRE" initials="SI" lastIdx="1" clrIdx="2">
    <p:extLst>
      <p:ext uri="{19B8F6BF-5375-455C-9EA6-DF929625EA0E}">
        <p15:presenceInfo xmlns:p15="http://schemas.microsoft.com/office/powerpoint/2012/main" userId="S::stephan.imre@rbinternational.com::f2688eb5-25e9-42ef-827b-4659a0333eb4" providerId="AD"/>
      </p:ext>
    </p:extLst>
  </p:cmAuthor>
  <p:cmAuthor id="4" name="Martin HAMAK" initials="MH [2]" lastIdx="1" clrIdx="3">
    <p:extLst>
      <p:ext uri="{19B8F6BF-5375-455C-9EA6-DF929625EA0E}">
        <p15:presenceInfo xmlns:p15="http://schemas.microsoft.com/office/powerpoint/2012/main" userId="S::martin.hamak@rbinternational.com::043056a3-9b73-4ce5-b0a2-2df823a020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FFFFFF"/>
    <a:srgbClr val="696969"/>
    <a:srgbClr val="FFEFEF"/>
    <a:srgbClr val="5F5F5F"/>
    <a:srgbClr val="FF0000"/>
    <a:srgbClr val="FEE600"/>
    <a:srgbClr val="595959"/>
    <a:srgbClr val="009600"/>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F0758A-5C97-4C6D-AF59-85FE22A956F8}" v="81" dt="2023-01-17T15:56:24.072"/>
    <p1510:client id="{D004FA1E-647F-42BA-98DC-7F6EB0F84CE3}" v="1" dt="2023-01-17T14:23:51.7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9" d="100"/>
          <a:sy n="89" d="100"/>
        </p:scale>
        <p:origin x="86" y="86"/>
      </p:cViewPr>
      <p:guideLst>
        <p:guide orient="horz" pos="2382"/>
        <p:guide pos="669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rbinternational.sharepoint.com/sites/GRR/Presentations/03-chartbook_macro%20rates%20fx_excel/02-inflation/EUR_04_HICP_core_oil_forecast.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https://rbinternational-my.sharepoint.com/personal/matthias_reith_rbinternational_com/Documents/Immobilienmarkt/was%20passiert%20wenn%20die%20immozinsen%20steigen%20Juli%202022.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rbinternational.sharepoint.com/sites/GRR/CountryDocs/Real_Estate/Austria/Bundesl&#228;nder/Tirol/Grafiken%20Tirol.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rbinternational.sharepoint.com/sites/GRR/CountryDocs/Real_Estate/Austria/Bundesl&#228;nder/Tirol/Grafiken%20Tirol.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https://rbinternational.sharepoint.com/sites/GRR/Presentations/03-chartbook_macro%20rates%20fx_excel/01-business%20cycle/World_01_PMI%20Manufacturing.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oleObject" Target="https://rbinternational.sharepoint.com/sites/GRR/Presentations/03-chartbook_macro%20rates%20fx_excel/03-rates_monetary%20policy/EUR_USA_04_Key%20rates%20long%20histor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RZBFS13\RZB_VWA410\VWARENT\Sovereigns\RAGB%20NEW\Issuance.xlsx" TargetMode="External"/></Relationships>
</file>

<file path=ppt/charts/_rels/chart7.xml.rels><?xml version="1.0" encoding="UTF-8" standalone="yes"?>
<Relationships xmlns="http://schemas.openxmlformats.org/package/2006/relationships"><Relationship Id="rId3" Type="http://schemas.openxmlformats.org/officeDocument/2006/relationships/oleObject" Target="https://rbinternational-my.sharepoint.com/personal/matthias_reith_rbinternational_com/Documents/Grafiken%20f&#252;r%20Pr&#228;sentationen/Immozinsen%20AT%20vs%20Staatsanleiherendite%20AT.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_rels/chart8.xml.rels><?xml version="1.0" encoding="UTF-8" standalone="yes"?>
<Relationships xmlns="http://schemas.openxmlformats.org/package/2006/relationships"><Relationship Id="rId3" Type="http://schemas.openxmlformats.org/officeDocument/2006/relationships/oleObject" Target="https://rbinternational-my.sharepoint.com/personal/matthias_reith_rbinternational_com/Documents/Immobilienmarkt/Immodaten%20AT/OeNB%20Immopreisindex.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rbinternational-my.sharepoint.com/personal/matthias_reith_rbinternational_com/Documents/Immobilienmarkt/Immodaten%20AT/OeNB%20Immopreisindex.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5709945292099569E-2"/>
          <c:y val="7.472450286746074E-2"/>
          <c:w val="0.89701063622960642"/>
          <c:h val="0.72843596493628382"/>
        </c:manualLayout>
      </c:layout>
      <c:lineChart>
        <c:grouping val="standard"/>
        <c:varyColors val="0"/>
        <c:ser>
          <c:idx val="2"/>
          <c:order val="0"/>
          <c:tx>
            <c:strRef>
              <c:f>Data!$I$4</c:f>
              <c:strCache>
                <c:ptCount val="1"/>
                <c:pt idx="0">
                  <c:v>Verbraucherpreise (% p.a.)</c:v>
                </c:pt>
              </c:strCache>
            </c:strRef>
          </c:tx>
          <c:spPr>
            <a:ln w="57150" cap="rnd">
              <a:solidFill>
                <a:schemeClr val="accent3"/>
              </a:solidFill>
              <a:round/>
            </a:ln>
            <a:effectLst/>
          </c:spPr>
          <c:marker>
            <c:symbol val="none"/>
          </c:marker>
          <c:cat>
            <c:numRef>
              <c:f>Data!$A$140:$A$500</c:f>
              <c:numCache>
                <c:formatCode>m/d/yyyy</c:formatCode>
                <c:ptCount val="361"/>
                <c:pt idx="0">
                  <c:v>40193</c:v>
                </c:pt>
                <c:pt idx="1">
                  <c:v>40224</c:v>
                </c:pt>
                <c:pt idx="2">
                  <c:v>40252</c:v>
                </c:pt>
                <c:pt idx="3">
                  <c:v>40283</c:v>
                </c:pt>
                <c:pt idx="4">
                  <c:v>40313</c:v>
                </c:pt>
                <c:pt idx="5">
                  <c:v>40344</c:v>
                </c:pt>
                <c:pt idx="6">
                  <c:v>40374</c:v>
                </c:pt>
                <c:pt idx="7">
                  <c:v>40405</c:v>
                </c:pt>
                <c:pt idx="8">
                  <c:v>40436</c:v>
                </c:pt>
                <c:pt idx="9">
                  <c:v>40466</c:v>
                </c:pt>
                <c:pt idx="10">
                  <c:v>40497</c:v>
                </c:pt>
                <c:pt idx="11">
                  <c:v>40527</c:v>
                </c:pt>
                <c:pt idx="12">
                  <c:v>40558</c:v>
                </c:pt>
                <c:pt idx="13">
                  <c:v>40589</c:v>
                </c:pt>
                <c:pt idx="14">
                  <c:v>40617</c:v>
                </c:pt>
                <c:pt idx="15">
                  <c:v>40648</c:v>
                </c:pt>
                <c:pt idx="16">
                  <c:v>40678</c:v>
                </c:pt>
                <c:pt idx="17">
                  <c:v>40709</c:v>
                </c:pt>
                <c:pt idx="18">
                  <c:v>40739</c:v>
                </c:pt>
                <c:pt idx="19">
                  <c:v>40770</c:v>
                </c:pt>
                <c:pt idx="20">
                  <c:v>40801</c:v>
                </c:pt>
                <c:pt idx="21">
                  <c:v>40831</c:v>
                </c:pt>
                <c:pt idx="22">
                  <c:v>40862</c:v>
                </c:pt>
                <c:pt idx="23">
                  <c:v>40892</c:v>
                </c:pt>
                <c:pt idx="24">
                  <c:v>40923</c:v>
                </c:pt>
                <c:pt idx="25">
                  <c:v>40954</c:v>
                </c:pt>
                <c:pt idx="26">
                  <c:v>40983</c:v>
                </c:pt>
                <c:pt idx="27">
                  <c:v>41014</c:v>
                </c:pt>
                <c:pt idx="28">
                  <c:v>41044</c:v>
                </c:pt>
                <c:pt idx="29">
                  <c:v>41075</c:v>
                </c:pt>
                <c:pt idx="30">
                  <c:v>41105</c:v>
                </c:pt>
                <c:pt idx="31">
                  <c:v>41136</c:v>
                </c:pt>
                <c:pt idx="32">
                  <c:v>41167</c:v>
                </c:pt>
                <c:pt idx="33">
                  <c:v>41197</c:v>
                </c:pt>
                <c:pt idx="34">
                  <c:v>41228</c:v>
                </c:pt>
                <c:pt idx="35">
                  <c:v>41258</c:v>
                </c:pt>
                <c:pt idx="36">
                  <c:v>41289</c:v>
                </c:pt>
                <c:pt idx="37">
                  <c:v>41320</c:v>
                </c:pt>
                <c:pt idx="38">
                  <c:v>41348</c:v>
                </c:pt>
                <c:pt idx="39">
                  <c:v>41379</c:v>
                </c:pt>
                <c:pt idx="40">
                  <c:v>41409</c:v>
                </c:pt>
                <c:pt idx="41">
                  <c:v>41440</c:v>
                </c:pt>
                <c:pt idx="42">
                  <c:v>41470</c:v>
                </c:pt>
                <c:pt idx="43">
                  <c:v>41501</c:v>
                </c:pt>
                <c:pt idx="44">
                  <c:v>41532</c:v>
                </c:pt>
                <c:pt idx="45">
                  <c:v>41562</c:v>
                </c:pt>
                <c:pt idx="46">
                  <c:v>41593</c:v>
                </c:pt>
                <c:pt idx="47">
                  <c:v>41623</c:v>
                </c:pt>
                <c:pt idx="48">
                  <c:v>41654</c:v>
                </c:pt>
                <c:pt idx="49">
                  <c:v>41685</c:v>
                </c:pt>
                <c:pt idx="50">
                  <c:v>41713</c:v>
                </c:pt>
                <c:pt idx="51">
                  <c:v>41744</c:v>
                </c:pt>
                <c:pt idx="52">
                  <c:v>41774</c:v>
                </c:pt>
                <c:pt idx="53">
                  <c:v>41805</c:v>
                </c:pt>
                <c:pt idx="54">
                  <c:v>41835</c:v>
                </c:pt>
                <c:pt idx="55">
                  <c:v>41866</c:v>
                </c:pt>
                <c:pt idx="56">
                  <c:v>41897</c:v>
                </c:pt>
                <c:pt idx="57">
                  <c:v>41927</c:v>
                </c:pt>
                <c:pt idx="58">
                  <c:v>41958</c:v>
                </c:pt>
                <c:pt idx="59">
                  <c:v>41988</c:v>
                </c:pt>
                <c:pt idx="60">
                  <c:v>42019</c:v>
                </c:pt>
                <c:pt idx="61">
                  <c:v>42050</c:v>
                </c:pt>
                <c:pt idx="62">
                  <c:v>42078</c:v>
                </c:pt>
                <c:pt idx="63">
                  <c:v>42109</c:v>
                </c:pt>
                <c:pt idx="64">
                  <c:v>42139</c:v>
                </c:pt>
                <c:pt idx="65">
                  <c:v>42170</c:v>
                </c:pt>
                <c:pt idx="66">
                  <c:v>42200</c:v>
                </c:pt>
                <c:pt idx="67">
                  <c:v>42231</c:v>
                </c:pt>
                <c:pt idx="68">
                  <c:v>42262</c:v>
                </c:pt>
                <c:pt idx="69">
                  <c:v>42292</c:v>
                </c:pt>
                <c:pt idx="70">
                  <c:v>42323</c:v>
                </c:pt>
                <c:pt idx="71">
                  <c:v>42353</c:v>
                </c:pt>
                <c:pt idx="72">
                  <c:v>42384</c:v>
                </c:pt>
                <c:pt idx="73">
                  <c:v>42415</c:v>
                </c:pt>
                <c:pt idx="74">
                  <c:v>42444</c:v>
                </c:pt>
                <c:pt idx="75">
                  <c:v>42475</c:v>
                </c:pt>
                <c:pt idx="76">
                  <c:v>42505</c:v>
                </c:pt>
                <c:pt idx="77">
                  <c:v>42536</c:v>
                </c:pt>
                <c:pt idx="78">
                  <c:v>42566</c:v>
                </c:pt>
                <c:pt idx="79">
                  <c:v>42597</c:v>
                </c:pt>
                <c:pt idx="80">
                  <c:v>42628</c:v>
                </c:pt>
                <c:pt idx="81">
                  <c:v>42658</c:v>
                </c:pt>
                <c:pt idx="82">
                  <c:v>42689</c:v>
                </c:pt>
                <c:pt idx="83">
                  <c:v>42719</c:v>
                </c:pt>
                <c:pt idx="84">
                  <c:v>42750</c:v>
                </c:pt>
                <c:pt idx="85">
                  <c:v>42781</c:v>
                </c:pt>
                <c:pt idx="86">
                  <c:v>42809</c:v>
                </c:pt>
                <c:pt idx="87">
                  <c:v>42840</c:v>
                </c:pt>
                <c:pt idx="88">
                  <c:v>42870</c:v>
                </c:pt>
                <c:pt idx="89">
                  <c:v>42901</c:v>
                </c:pt>
                <c:pt idx="90">
                  <c:v>42931</c:v>
                </c:pt>
                <c:pt idx="91">
                  <c:v>42962</c:v>
                </c:pt>
                <c:pt idx="92">
                  <c:v>42993</c:v>
                </c:pt>
                <c:pt idx="93">
                  <c:v>43023</c:v>
                </c:pt>
                <c:pt idx="94">
                  <c:v>43054</c:v>
                </c:pt>
                <c:pt idx="95">
                  <c:v>43084</c:v>
                </c:pt>
                <c:pt idx="96">
                  <c:v>43115</c:v>
                </c:pt>
                <c:pt idx="97">
                  <c:v>43146</c:v>
                </c:pt>
                <c:pt idx="98">
                  <c:v>43174</c:v>
                </c:pt>
                <c:pt idx="99">
                  <c:v>43205</c:v>
                </c:pt>
                <c:pt idx="100">
                  <c:v>43235</c:v>
                </c:pt>
                <c:pt idx="101">
                  <c:v>43266</c:v>
                </c:pt>
                <c:pt idx="102">
                  <c:v>43296</c:v>
                </c:pt>
                <c:pt idx="103">
                  <c:v>43327</c:v>
                </c:pt>
                <c:pt idx="104">
                  <c:v>43358</c:v>
                </c:pt>
                <c:pt idx="105">
                  <c:v>43388</c:v>
                </c:pt>
                <c:pt idx="106">
                  <c:v>43419</c:v>
                </c:pt>
                <c:pt idx="107">
                  <c:v>43449</c:v>
                </c:pt>
                <c:pt idx="108">
                  <c:v>43480</c:v>
                </c:pt>
                <c:pt idx="109">
                  <c:v>43511</c:v>
                </c:pt>
                <c:pt idx="110">
                  <c:v>43539</c:v>
                </c:pt>
                <c:pt idx="111">
                  <c:v>43570</c:v>
                </c:pt>
                <c:pt idx="112">
                  <c:v>43600</c:v>
                </c:pt>
                <c:pt idx="113">
                  <c:v>43631</c:v>
                </c:pt>
                <c:pt idx="114">
                  <c:v>43661</c:v>
                </c:pt>
                <c:pt idx="115">
                  <c:v>43692</c:v>
                </c:pt>
                <c:pt idx="116">
                  <c:v>43723</c:v>
                </c:pt>
                <c:pt idx="117">
                  <c:v>43753</c:v>
                </c:pt>
                <c:pt idx="118">
                  <c:v>43784</c:v>
                </c:pt>
                <c:pt idx="119">
                  <c:v>43814</c:v>
                </c:pt>
                <c:pt idx="120">
                  <c:v>43845</c:v>
                </c:pt>
                <c:pt idx="121">
                  <c:v>43876</c:v>
                </c:pt>
                <c:pt idx="122">
                  <c:v>43905</c:v>
                </c:pt>
                <c:pt idx="123">
                  <c:v>43936</c:v>
                </c:pt>
                <c:pt idx="124">
                  <c:v>43966</c:v>
                </c:pt>
                <c:pt idx="125">
                  <c:v>43997</c:v>
                </c:pt>
                <c:pt idx="126">
                  <c:v>44027</c:v>
                </c:pt>
                <c:pt idx="127">
                  <c:v>44058</c:v>
                </c:pt>
                <c:pt idx="128">
                  <c:v>44089</c:v>
                </c:pt>
                <c:pt idx="129">
                  <c:v>44119</c:v>
                </c:pt>
                <c:pt idx="130">
                  <c:v>44150</c:v>
                </c:pt>
                <c:pt idx="131">
                  <c:v>44180</c:v>
                </c:pt>
                <c:pt idx="132">
                  <c:v>44211</c:v>
                </c:pt>
                <c:pt idx="133">
                  <c:v>44242</c:v>
                </c:pt>
                <c:pt idx="134">
                  <c:v>44270</c:v>
                </c:pt>
                <c:pt idx="135">
                  <c:v>44301</c:v>
                </c:pt>
                <c:pt idx="136">
                  <c:v>44331</c:v>
                </c:pt>
                <c:pt idx="137">
                  <c:v>44362</c:v>
                </c:pt>
                <c:pt idx="138">
                  <c:v>44392</c:v>
                </c:pt>
                <c:pt idx="139">
                  <c:v>44423</c:v>
                </c:pt>
                <c:pt idx="140">
                  <c:v>44454</c:v>
                </c:pt>
                <c:pt idx="141">
                  <c:v>44484</c:v>
                </c:pt>
                <c:pt idx="142">
                  <c:v>44515</c:v>
                </c:pt>
                <c:pt idx="143">
                  <c:v>44545</c:v>
                </c:pt>
                <c:pt idx="144">
                  <c:v>44576</c:v>
                </c:pt>
                <c:pt idx="145">
                  <c:v>44607</c:v>
                </c:pt>
                <c:pt idx="146">
                  <c:v>44635</c:v>
                </c:pt>
                <c:pt idx="147">
                  <c:v>44666</c:v>
                </c:pt>
                <c:pt idx="148">
                  <c:v>44696</c:v>
                </c:pt>
                <c:pt idx="149">
                  <c:v>44727</c:v>
                </c:pt>
                <c:pt idx="150">
                  <c:v>44757</c:v>
                </c:pt>
                <c:pt idx="151">
                  <c:v>44788</c:v>
                </c:pt>
                <c:pt idx="152">
                  <c:v>44819</c:v>
                </c:pt>
                <c:pt idx="153">
                  <c:v>44849</c:v>
                </c:pt>
                <c:pt idx="154">
                  <c:v>44880</c:v>
                </c:pt>
                <c:pt idx="155">
                  <c:v>44910</c:v>
                </c:pt>
                <c:pt idx="156">
                  <c:v>44941</c:v>
                </c:pt>
                <c:pt idx="157">
                  <c:v>44972</c:v>
                </c:pt>
                <c:pt idx="158">
                  <c:v>45000</c:v>
                </c:pt>
                <c:pt idx="159">
                  <c:v>45031</c:v>
                </c:pt>
                <c:pt idx="160">
                  <c:v>45061</c:v>
                </c:pt>
                <c:pt idx="161">
                  <c:v>45092</c:v>
                </c:pt>
                <c:pt idx="162">
                  <c:v>45122</c:v>
                </c:pt>
                <c:pt idx="163">
                  <c:v>45153</c:v>
                </c:pt>
                <c:pt idx="164">
                  <c:v>45184</c:v>
                </c:pt>
                <c:pt idx="165">
                  <c:v>45214</c:v>
                </c:pt>
                <c:pt idx="166">
                  <c:v>45245</c:v>
                </c:pt>
                <c:pt idx="167">
                  <c:v>45275</c:v>
                </c:pt>
                <c:pt idx="168">
                  <c:v>45306</c:v>
                </c:pt>
                <c:pt idx="169">
                  <c:v>45337</c:v>
                </c:pt>
                <c:pt idx="170">
                  <c:v>45366</c:v>
                </c:pt>
                <c:pt idx="171">
                  <c:v>45397</c:v>
                </c:pt>
                <c:pt idx="172">
                  <c:v>45427</c:v>
                </c:pt>
                <c:pt idx="173">
                  <c:v>45458</c:v>
                </c:pt>
                <c:pt idx="174">
                  <c:v>45488</c:v>
                </c:pt>
                <c:pt idx="175">
                  <c:v>45519</c:v>
                </c:pt>
                <c:pt idx="176">
                  <c:v>45550</c:v>
                </c:pt>
                <c:pt idx="177">
                  <c:v>45580</c:v>
                </c:pt>
                <c:pt idx="178">
                  <c:v>45611</c:v>
                </c:pt>
                <c:pt idx="179">
                  <c:v>45641</c:v>
                </c:pt>
              </c:numCache>
            </c:numRef>
          </c:cat>
          <c:val>
            <c:numRef>
              <c:f>Data!$B$140:$B$500</c:f>
              <c:numCache>
                <c:formatCode>General</c:formatCode>
                <c:ptCount val="361"/>
                <c:pt idx="0">
                  <c:v>0.95</c:v>
                </c:pt>
                <c:pt idx="1">
                  <c:v>0.85</c:v>
                </c:pt>
                <c:pt idx="2">
                  <c:v>1.59</c:v>
                </c:pt>
                <c:pt idx="3">
                  <c:v>1.63</c:v>
                </c:pt>
                <c:pt idx="4">
                  <c:v>1.69</c:v>
                </c:pt>
                <c:pt idx="5">
                  <c:v>1.49</c:v>
                </c:pt>
                <c:pt idx="6">
                  <c:v>1.72</c:v>
                </c:pt>
                <c:pt idx="7">
                  <c:v>1.58</c:v>
                </c:pt>
                <c:pt idx="8">
                  <c:v>1.88</c:v>
                </c:pt>
                <c:pt idx="9">
                  <c:v>1.95</c:v>
                </c:pt>
                <c:pt idx="10">
                  <c:v>1.91</c:v>
                </c:pt>
                <c:pt idx="11">
                  <c:v>2.21</c:v>
                </c:pt>
                <c:pt idx="12">
                  <c:v>2.2999999999999998</c:v>
                </c:pt>
                <c:pt idx="13">
                  <c:v>2.4300000000000002</c:v>
                </c:pt>
                <c:pt idx="14">
                  <c:v>2.67</c:v>
                </c:pt>
                <c:pt idx="15">
                  <c:v>2.82</c:v>
                </c:pt>
                <c:pt idx="16">
                  <c:v>2.72</c:v>
                </c:pt>
                <c:pt idx="17">
                  <c:v>2.71</c:v>
                </c:pt>
                <c:pt idx="18">
                  <c:v>2.56</c:v>
                </c:pt>
                <c:pt idx="19">
                  <c:v>2.54</c:v>
                </c:pt>
                <c:pt idx="20">
                  <c:v>2.98</c:v>
                </c:pt>
                <c:pt idx="21">
                  <c:v>3.03</c:v>
                </c:pt>
                <c:pt idx="22">
                  <c:v>3.03</c:v>
                </c:pt>
                <c:pt idx="23">
                  <c:v>2.76</c:v>
                </c:pt>
                <c:pt idx="24">
                  <c:v>2.66</c:v>
                </c:pt>
                <c:pt idx="25">
                  <c:v>2.73</c:v>
                </c:pt>
                <c:pt idx="26">
                  <c:v>2.67</c:v>
                </c:pt>
                <c:pt idx="27">
                  <c:v>2.59</c:v>
                </c:pt>
                <c:pt idx="28">
                  <c:v>2.4300000000000002</c:v>
                </c:pt>
                <c:pt idx="29">
                  <c:v>2.37</c:v>
                </c:pt>
                <c:pt idx="30">
                  <c:v>2.41</c:v>
                </c:pt>
                <c:pt idx="31">
                  <c:v>2.62</c:v>
                </c:pt>
                <c:pt idx="32">
                  <c:v>2.61</c:v>
                </c:pt>
                <c:pt idx="33">
                  <c:v>2.4900000000000002</c:v>
                </c:pt>
                <c:pt idx="34">
                  <c:v>2.2000000000000002</c:v>
                </c:pt>
                <c:pt idx="35">
                  <c:v>2.2200000000000002</c:v>
                </c:pt>
                <c:pt idx="36">
                  <c:v>1.99</c:v>
                </c:pt>
                <c:pt idx="37">
                  <c:v>1.85</c:v>
                </c:pt>
                <c:pt idx="38">
                  <c:v>1.74</c:v>
                </c:pt>
                <c:pt idx="39">
                  <c:v>1.17</c:v>
                </c:pt>
                <c:pt idx="40">
                  <c:v>1.43</c:v>
                </c:pt>
                <c:pt idx="41">
                  <c:v>1.61</c:v>
                </c:pt>
                <c:pt idx="42">
                  <c:v>1.61</c:v>
                </c:pt>
                <c:pt idx="43">
                  <c:v>1.34</c:v>
                </c:pt>
                <c:pt idx="44">
                  <c:v>1.0900000000000001</c:v>
                </c:pt>
                <c:pt idx="45">
                  <c:v>0.74</c:v>
                </c:pt>
                <c:pt idx="46">
                  <c:v>0.85</c:v>
                </c:pt>
                <c:pt idx="47">
                  <c:v>0.85</c:v>
                </c:pt>
                <c:pt idx="48">
                  <c:v>0.76</c:v>
                </c:pt>
                <c:pt idx="49">
                  <c:v>0.71</c:v>
                </c:pt>
                <c:pt idx="50">
                  <c:v>0.47</c:v>
                </c:pt>
                <c:pt idx="51">
                  <c:v>0.71</c:v>
                </c:pt>
                <c:pt idx="52">
                  <c:v>0.49</c:v>
                </c:pt>
                <c:pt idx="53">
                  <c:v>0.49</c:v>
                </c:pt>
                <c:pt idx="54">
                  <c:v>0.37</c:v>
                </c:pt>
                <c:pt idx="55">
                  <c:v>0.36</c:v>
                </c:pt>
                <c:pt idx="56">
                  <c:v>0.32</c:v>
                </c:pt>
                <c:pt idx="57">
                  <c:v>0.38</c:v>
                </c:pt>
                <c:pt idx="58">
                  <c:v>0.28000000000000003</c:v>
                </c:pt>
                <c:pt idx="59">
                  <c:v>-0.17</c:v>
                </c:pt>
                <c:pt idx="60">
                  <c:v>-0.6</c:v>
                </c:pt>
                <c:pt idx="61">
                  <c:v>-0.28999999999999998</c:v>
                </c:pt>
                <c:pt idx="62">
                  <c:v>-7.0000000000000007E-2</c:v>
                </c:pt>
                <c:pt idx="63">
                  <c:v>0.21</c:v>
                </c:pt>
                <c:pt idx="64">
                  <c:v>0.6</c:v>
                </c:pt>
                <c:pt idx="65">
                  <c:v>0.5</c:v>
                </c:pt>
                <c:pt idx="66">
                  <c:v>0.54</c:v>
                </c:pt>
                <c:pt idx="67">
                  <c:v>0.44</c:v>
                </c:pt>
                <c:pt idx="68">
                  <c:v>0.2</c:v>
                </c:pt>
                <c:pt idx="69">
                  <c:v>0.39</c:v>
                </c:pt>
                <c:pt idx="70">
                  <c:v>0.13</c:v>
                </c:pt>
                <c:pt idx="71">
                  <c:v>0.25</c:v>
                </c:pt>
                <c:pt idx="72">
                  <c:v>0.33</c:v>
                </c:pt>
                <c:pt idx="73">
                  <c:v>-0.12</c:v>
                </c:pt>
                <c:pt idx="74">
                  <c:v>-0.04</c:v>
                </c:pt>
                <c:pt idx="75">
                  <c:v>-0.26</c:v>
                </c:pt>
                <c:pt idx="76">
                  <c:v>-0.12</c:v>
                </c:pt>
                <c:pt idx="77">
                  <c:v>0.05</c:v>
                </c:pt>
                <c:pt idx="78">
                  <c:v>0.17</c:v>
                </c:pt>
                <c:pt idx="79">
                  <c:v>0.22</c:v>
                </c:pt>
                <c:pt idx="80">
                  <c:v>0.4</c:v>
                </c:pt>
                <c:pt idx="81">
                  <c:v>0.51</c:v>
                </c:pt>
                <c:pt idx="82">
                  <c:v>0.59</c:v>
                </c:pt>
                <c:pt idx="83">
                  <c:v>1.1000000000000001</c:v>
                </c:pt>
                <c:pt idx="84">
                  <c:v>1.72</c:v>
                </c:pt>
                <c:pt idx="85">
                  <c:v>1.95</c:v>
                </c:pt>
                <c:pt idx="86">
                  <c:v>1.53</c:v>
                </c:pt>
                <c:pt idx="87">
                  <c:v>1.9</c:v>
                </c:pt>
                <c:pt idx="88">
                  <c:v>1.38</c:v>
                </c:pt>
                <c:pt idx="89">
                  <c:v>1.3</c:v>
                </c:pt>
                <c:pt idx="90">
                  <c:v>1.34</c:v>
                </c:pt>
                <c:pt idx="91">
                  <c:v>1.54</c:v>
                </c:pt>
                <c:pt idx="92">
                  <c:v>1.56</c:v>
                </c:pt>
                <c:pt idx="93">
                  <c:v>1.37</c:v>
                </c:pt>
                <c:pt idx="94">
                  <c:v>1.53</c:v>
                </c:pt>
                <c:pt idx="95">
                  <c:v>1.34</c:v>
                </c:pt>
                <c:pt idx="96">
                  <c:v>1.3</c:v>
                </c:pt>
                <c:pt idx="97">
                  <c:v>1.1100000000000001</c:v>
                </c:pt>
                <c:pt idx="98">
                  <c:v>1.4</c:v>
                </c:pt>
                <c:pt idx="99">
                  <c:v>1.22</c:v>
                </c:pt>
                <c:pt idx="100">
                  <c:v>1.95</c:v>
                </c:pt>
                <c:pt idx="101">
                  <c:v>1.97</c:v>
                </c:pt>
                <c:pt idx="102">
                  <c:v>2.19</c:v>
                </c:pt>
                <c:pt idx="103">
                  <c:v>2.08</c:v>
                </c:pt>
                <c:pt idx="104">
                  <c:v>2.08</c:v>
                </c:pt>
                <c:pt idx="105">
                  <c:v>2.29</c:v>
                </c:pt>
                <c:pt idx="106">
                  <c:v>1.92</c:v>
                </c:pt>
                <c:pt idx="107">
                  <c:v>1.52</c:v>
                </c:pt>
                <c:pt idx="108">
                  <c:v>1.39</c:v>
                </c:pt>
                <c:pt idx="109">
                  <c:v>1.49</c:v>
                </c:pt>
                <c:pt idx="110">
                  <c:v>1.4</c:v>
                </c:pt>
                <c:pt idx="111">
                  <c:v>1.72</c:v>
                </c:pt>
                <c:pt idx="112">
                  <c:v>1.22</c:v>
                </c:pt>
                <c:pt idx="113">
                  <c:v>1.27</c:v>
                </c:pt>
                <c:pt idx="114">
                  <c:v>1.02</c:v>
                </c:pt>
                <c:pt idx="115">
                  <c:v>1.01</c:v>
                </c:pt>
                <c:pt idx="116">
                  <c:v>0.83</c:v>
                </c:pt>
                <c:pt idx="117">
                  <c:v>0.73</c:v>
                </c:pt>
                <c:pt idx="118">
                  <c:v>0.96</c:v>
                </c:pt>
                <c:pt idx="119">
                  <c:v>1.33</c:v>
                </c:pt>
                <c:pt idx="120">
                  <c:v>1.36</c:v>
                </c:pt>
                <c:pt idx="121">
                  <c:v>1.22</c:v>
                </c:pt>
                <c:pt idx="122">
                  <c:v>0.75</c:v>
                </c:pt>
                <c:pt idx="123">
                  <c:v>0.31</c:v>
                </c:pt>
                <c:pt idx="124">
                  <c:v>0.09</c:v>
                </c:pt>
                <c:pt idx="125">
                  <c:v>0.27</c:v>
                </c:pt>
                <c:pt idx="126">
                  <c:v>0.39</c:v>
                </c:pt>
                <c:pt idx="127">
                  <c:v>-0.17</c:v>
                </c:pt>
                <c:pt idx="128">
                  <c:v>-0.31</c:v>
                </c:pt>
                <c:pt idx="129">
                  <c:v>-0.28000000000000003</c:v>
                </c:pt>
                <c:pt idx="130">
                  <c:v>-0.28999999999999998</c:v>
                </c:pt>
                <c:pt idx="131">
                  <c:v>-0.27</c:v>
                </c:pt>
                <c:pt idx="132">
                  <c:v>0.91</c:v>
                </c:pt>
                <c:pt idx="133">
                  <c:v>0.94</c:v>
                </c:pt>
                <c:pt idx="134">
                  <c:v>1.33</c:v>
                </c:pt>
                <c:pt idx="135">
                  <c:v>1.62</c:v>
                </c:pt>
                <c:pt idx="136">
                  <c:v>1.98</c:v>
                </c:pt>
                <c:pt idx="137">
                  <c:v>1.9</c:v>
                </c:pt>
                <c:pt idx="138">
                  <c:v>2.16</c:v>
                </c:pt>
                <c:pt idx="139">
                  <c:v>2.96</c:v>
                </c:pt>
                <c:pt idx="140">
                  <c:v>3.36</c:v>
                </c:pt>
                <c:pt idx="141">
                  <c:v>4.05</c:v>
                </c:pt>
                <c:pt idx="142">
                  <c:v>4.87</c:v>
                </c:pt>
                <c:pt idx="143">
                  <c:v>4.96</c:v>
                </c:pt>
                <c:pt idx="144">
                  <c:v>5.1100000000000003</c:v>
                </c:pt>
                <c:pt idx="145">
                  <c:v>5.87</c:v>
                </c:pt>
                <c:pt idx="146">
                  <c:v>7.44</c:v>
                </c:pt>
                <c:pt idx="147">
                  <c:v>7.44</c:v>
                </c:pt>
                <c:pt idx="148">
                  <c:v>8.0500000000000007</c:v>
                </c:pt>
                <c:pt idx="149">
                  <c:v>8.64</c:v>
                </c:pt>
                <c:pt idx="150">
                  <c:v>8.8699999999999992</c:v>
                </c:pt>
                <c:pt idx="151">
                  <c:v>9.14</c:v>
                </c:pt>
                <c:pt idx="152">
                  <c:v>9.93</c:v>
                </c:pt>
                <c:pt idx="153">
                  <c:v>10.62</c:v>
                </c:pt>
                <c:pt idx="154">
                  <c:v>10.050000000000001</c:v>
                </c:pt>
                <c:pt idx="155">
                  <c:v>9.2100000000000009</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numCache>
            </c:numRef>
          </c:val>
          <c:smooth val="0"/>
          <c:extLst>
            <c:ext xmlns:c16="http://schemas.microsoft.com/office/drawing/2014/chart" uri="{C3380CC4-5D6E-409C-BE32-E72D297353CC}">
              <c16:uniqueId val="{00000000-442E-4CA7-B429-9CAB7401B1A3}"/>
            </c:ext>
          </c:extLst>
        </c:ser>
        <c:ser>
          <c:idx val="3"/>
          <c:order val="1"/>
          <c:tx>
            <c:strRef>
              <c:f>Data!$J$4</c:f>
              <c:strCache>
                <c:ptCount val="1"/>
                <c:pt idx="0">
                  <c:v>Verbraucherpreise ex Energie, Nahrungsmittel Alk. &amp; Tab. (% p.a.)</c:v>
                </c:pt>
              </c:strCache>
            </c:strRef>
          </c:tx>
          <c:spPr>
            <a:ln w="57150" cap="rnd">
              <a:solidFill>
                <a:srgbClr val="FEE600"/>
              </a:solidFill>
              <a:round/>
            </a:ln>
            <a:effectLst/>
          </c:spPr>
          <c:marker>
            <c:symbol val="none"/>
          </c:marker>
          <c:cat>
            <c:numRef>
              <c:f>Data!$A$140:$A$500</c:f>
              <c:numCache>
                <c:formatCode>m/d/yyyy</c:formatCode>
                <c:ptCount val="361"/>
                <c:pt idx="0">
                  <c:v>40193</c:v>
                </c:pt>
                <c:pt idx="1">
                  <c:v>40224</c:v>
                </c:pt>
                <c:pt idx="2">
                  <c:v>40252</c:v>
                </c:pt>
                <c:pt idx="3">
                  <c:v>40283</c:v>
                </c:pt>
                <c:pt idx="4">
                  <c:v>40313</c:v>
                </c:pt>
                <c:pt idx="5">
                  <c:v>40344</c:v>
                </c:pt>
                <c:pt idx="6">
                  <c:v>40374</c:v>
                </c:pt>
                <c:pt idx="7">
                  <c:v>40405</c:v>
                </c:pt>
                <c:pt idx="8">
                  <c:v>40436</c:v>
                </c:pt>
                <c:pt idx="9">
                  <c:v>40466</c:v>
                </c:pt>
                <c:pt idx="10">
                  <c:v>40497</c:v>
                </c:pt>
                <c:pt idx="11">
                  <c:v>40527</c:v>
                </c:pt>
                <c:pt idx="12">
                  <c:v>40558</c:v>
                </c:pt>
                <c:pt idx="13">
                  <c:v>40589</c:v>
                </c:pt>
                <c:pt idx="14">
                  <c:v>40617</c:v>
                </c:pt>
                <c:pt idx="15">
                  <c:v>40648</c:v>
                </c:pt>
                <c:pt idx="16">
                  <c:v>40678</c:v>
                </c:pt>
                <c:pt idx="17">
                  <c:v>40709</c:v>
                </c:pt>
                <c:pt idx="18">
                  <c:v>40739</c:v>
                </c:pt>
                <c:pt idx="19">
                  <c:v>40770</c:v>
                </c:pt>
                <c:pt idx="20">
                  <c:v>40801</c:v>
                </c:pt>
                <c:pt idx="21">
                  <c:v>40831</c:v>
                </c:pt>
                <c:pt idx="22">
                  <c:v>40862</c:v>
                </c:pt>
                <c:pt idx="23">
                  <c:v>40892</c:v>
                </c:pt>
                <c:pt idx="24">
                  <c:v>40923</c:v>
                </c:pt>
                <c:pt idx="25">
                  <c:v>40954</c:v>
                </c:pt>
                <c:pt idx="26">
                  <c:v>40983</c:v>
                </c:pt>
                <c:pt idx="27">
                  <c:v>41014</c:v>
                </c:pt>
                <c:pt idx="28">
                  <c:v>41044</c:v>
                </c:pt>
                <c:pt idx="29">
                  <c:v>41075</c:v>
                </c:pt>
                <c:pt idx="30">
                  <c:v>41105</c:v>
                </c:pt>
                <c:pt idx="31">
                  <c:v>41136</c:v>
                </c:pt>
                <c:pt idx="32">
                  <c:v>41167</c:v>
                </c:pt>
                <c:pt idx="33">
                  <c:v>41197</c:v>
                </c:pt>
                <c:pt idx="34">
                  <c:v>41228</c:v>
                </c:pt>
                <c:pt idx="35">
                  <c:v>41258</c:v>
                </c:pt>
                <c:pt idx="36">
                  <c:v>41289</c:v>
                </c:pt>
                <c:pt idx="37">
                  <c:v>41320</c:v>
                </c:pt>
                <c:pt idx="38">
                  <c:v>41348</c:v>
                </c:pt>
                <c:pt idx="39">
                  <c:v>41379</c:v>
                </c:pt>
                <c:pt idx="40">
                  <c:v>41409</c:v>
                </c:pt>
                <c:pt idx="41">
                  <c:v>41440</c:v>
                </c:pt>
                <c:pt idx="42">
                  <c:v>41470</c:v>
                </c:pt>
                <c:pt idx="43">
                  <c:v>41501</c:v>
                </c:pt>
                <c:pt idx="44">
                  <c:v>41532</c:v>
                </c:pt>
                <c:pt idx="45">
                  <c:v>41562</c:v>
                </c:pt>
                <c:pt idx="46">
                  <c:v>41593</c:v>
                </c:pt>
                <c:pt idx="47">
                  <c:v>41623</c:v>
                </c:pt>
                <c:pt idx="48">
                  <c:v>41654</c:v>
                </c:pt>
                <c:pt idx="49">
                  <c:v>41685</c:v>
                </c:pt>
                <c:pt idx="50">
                  <c:v>41713</c:v>
                </c:pt>
                <c:pt idx="51">
                  <c:v>41744</c:v>
                </c:pt>
                <c:pt idx="52">
                  <c:v>41774</c:v>
                </c:pt>
                <c:pt idx="53">
                  <c:v>41805</c:v>
                </c:pt>
                <c:pt idx="54">
                  <c:v>41835</c:v>
                </c:pt>
                <c:pt idx="55">
                  <c:v>41866</c:v>
                </c:pt>
                <c:pt idx="56">
                  <c:v>41897</c:v>
                </c:pt>
                <c:pt idx="57">
                  <c:v>41927</c:v>
                </c:pt>
                <c:pt idx="58">
                  <c:v>41958</c:v>
                </c:pt>
                <c:pt idx="59">
                  <c:v>41988</c:v>
                </c:pt>
                <c:pt idx="60">
                  <c:v>42019</c:v>
                </c:pt>
                <c:pt idx="61">
                  <c:v>42050</c:v>
                </c:pt>
                <c:pt idx="62">
                  <c:v>42078</c:v>
                </c:pt>
                <c:pt idx="63">
                  <c:v>42109</c:v>
                </c:pt>
                <c:pt idx="64">
                  <c:v>42139</c:v>
                </c:pt>
                <c:pt idx="65">
                  <c:v>42170</c:v>
                </c:pt>
                <c:pt idx="66">
                  <c:v>42200</c:v>
                </c:pt>
                <c:pt idx="67">
                  <c:v>42231</c:v>
                </c:pt>
                <c:pt idx="68">
                  <c:v>42262</c:v>
                </c:pt>
                <c:pt idx="69">
                  <c:v>42292</c:v>
                </c:pt>
                <c:pt idx="70">
                  <c:v>42323</c:v>
                </c:pt>
                <c:pt idx="71">
                  <c:v>42353</c:v>
                </c:pt>
                <c:pt idx="72">
                  <c:v>42384</c:v>
                </c:pt>
                <c:pt idx="73">
                  <c:v>42415</c:v>
                </c:pt>
                <c:pt idx="74">
                  <c:v>42444</c:v>
                </c:pt>
                <c:pt idx="75">
                  <c:v>42475</c:v>
                </c:pt>
                <c:pt idx="76">
                  <c:v>42505</c:v>
                </c:pt>
                <c:pt idx="77">
                  <c:v>42536</c:v>
                </c:pt>
                <c:pt idx="78">
                  <c:v>42566</c:v>
                </c:pt>
                <c:pt idx="79">
                  <c:v>42597</c:v>
                </c:pt>
                <c:pt idx="80">
                  <c:v>42628</c:v>
                </c:pt>
                <c:pt idx="81">
                  <c:v>42658</c:v>
                </c:pt>
                <c:pt idx="82">
                  <c:v>42689</c:v>
                </c:pt>
                <c:pt idx="83">
                  <c:v>42719</c:v>
                </c:pt>
                <c:pt idx="84">
                  <c:v>42750</c:v>
                </c:pt>
                <c:pt idx="85">
                  <c:v>42781</c:v>
                </c:pt>
                <c:pt idx="86">
                  <c:v>42809</c:v>
                </c:pt>
                <c:pt idx="87">
                  <c:v>42840</c:v>
                </c:pt>
                <c:pt idx="88">
                  <c:v>42870</c:v>
                </c:pt>
                <c:pt idx="89">
                  <c:v>42901</c:v>
                </c:pt>
                <c:pt idx="90">
                  <c:v>42931</c:v>
                </c:pt>
                <c:pt idx="91">
                  <c:v>42962</c:v>
                </c:pt>
                <c:pt idx="92">
                  <c:v>42993</c:v>
                </c:pt>
                <c:pt idx="93">
                  <c:v>43023</c:v>
                </c:pt>
                <c:pt idx="94">
                  <c:v>43054</c:v>
                </c:pt>
                <c:pt idx="95">
                  <c:v>43084</c:v>
                </c:pt>
                <c:pt idx="96">
                  <c:v>43115</c:v>
                </c:pt>
                <c:pt idx="97">
                  <c:v>43146</c:v>
                </c:pt>
                <c:pt idx="98">
                  <c:v>43174</c:v>
                </c:pt>
                <c:pt idx="99">
                  <c:v>43205</c:v>
                </c:pt>
                <c:pt idx="100">
                  <c:v>43235</c:v>
                </c:pt>
                <c:pt idx="101">
                  <c:v>43266</c:v>
                </c:pt>
                <c:pt idx="102">
                  <c:v>43296</c:v>
                </c:pt>
                <c:pt idx="103">
                  <c:v>43327</c:v>
                </c:pt>
                <c:pt idx="104">
                  <c:v>43358</c:v>
                </c:pt>
                <c:pt idx="105">
                  <c:v>43388</c:v>
                </c:pt>
                <c:pt idx="106">
                  <c:v>43419</c:v>
                </c:pt>
                <c:pt idx="107">
                  <c:v>43449</c:v>
                </c:pt>
                <c:pt idx="108">
                  <c:v>43480</c:v>
                </c:pt>
                <c:pt idx="109">
                  <c:v>43511</c:v>
                </c:pt>
                <c:pt idx="110">
                  <c:v>43539</c:v>
                </c:pt>
                <c:pt idx="111">
                  <c:v>43570</c:v>
                </c:pt>
                <c:pt idx="112">
                  <c:v>43600</c:v>
                </c:pt>
                <c:pt idx="113">
                  <c:v>43631</c:v>
                </c:pt>
                <c:pt idx="114">
                  <c:v>43661</c:v>
                </c:pt>
                <c:pt idx="115">
                  <c:v>43692</c:v>
                </c:pt>
                <c:pt idx="116">
                  <c:v>43723</c:v>
                </c:pt>
                <c:pt idx="117">
                  <c:v>43753</c:v>
                </c:pt>
                <c:pt idx="118">
                  <c:v>43784</c:v>
                </c:pt>
                <c:pt idx="119">
                  <c:v>43814</c:v>
                </c:pt>
                <c:pt idx="120">
                  <c:v>43845</c:v>
                </c:pt>
                <c:pt idx="121">
                  <c:v>43876</c:v>
                </c:pt>
                <c:pt idx="122">
                  <c:v>43905</c:v>
                </c:pt>
                <c:pt idx="123">
                  <c:v>43936</c:v>
                </c:pt>
                <c:pt idx="124">
                  <c:v>43966</c:v>
                </c:pt>
                <c:pt idx="125">
                  <c:v>43997</c:v>
                </c:pt>
                <c:pt idx="126">
                  <c:v>44027</c:v>
                </c:pt>
                <c:pt idx="127">
                  <c:v>44058</c:v>
                </c:pt>
                <c:pt idx="128">
                  <c:v>44089</c:v>
                </c:pt>
                <c:pt idx="129">
                  <c:v>44119</c:v>
                </c:pt>
                <c:pt idx="130">
                  <c:v>44150</c:v>
                </c:pt>
                <c:pt idx="131">
                  <c:v>44180</c:v>
                </c:pt>
                <c:pt idx="132">
                  <c:v>44211</c:v>
                </c:pt>
                <c:pt idx="133">
                  <c:v>44242</c:v>
                </c:pt>
                <c:pt idx="134">
                  <c:v>44270</c:v>
                </c:pt>
                <c:pt idx="135">
                  <c:v>44301</c:v>
                </c:pt>
                <c:pt idx="136">
                  <c:v>44331</c:v>
                </c:pt>
                <c:pt idx="137">
                  <c:v>44362</c:v>
                </c:pt>
                <c:pt idx="138">
                  <c:v>44392</c:v>
                </c:pt>
                <c:pt idx="139">
                  <c:v>44423</c:v>
                </c:pt>
                <c:pt idx="140">
                  <c:v>44454</c:v>
                </c:pt>
                <c:pt idx="141">
                  <c:v>44484</c:v>
                </c:pt>
                <c:pt idx="142">
                  <c:v>44515</c:v>
                </c:pt>
                <c:pt idx="143">
                  <c:v>44545</c:v>
                </c:pt>
                <c:pt idx="144">
                  <c:v>44576</c:v>
                </c:pt>
                <c:pt idx="145">
                  <c:v>44607</c:v>
                </c:pt>
                <c:pt idx="146">
                  <c:v>44635</c:v>
                </c:pt>
                <c:pt idx="147">
                  <c:v>44666</c:v>
                </c:pt>
                <c:pt idx="148">
                  <c:v>44696</c:v>
                </c:pt>
                <c:pt idx="149">
                  <c:v>44727</c:v>
                </c:pt>
                <c:pt idx="150">
                  <c:v>44757</c:v>
                </c:pt>
                <c:pt idx="151">
                  <c:v>44788</c:v>
                </c:pt>
                <c:pt idx="152">
                  <c:v>44819</c:v>
                </c:pt>
                <c:pt idx="153">
                  <c:v>44849</c:v>
                </c:pt>
                <c:pt idx="154">
                  <c:v>44880</c:v>
                </c:pt>
                <c:pt idx="155">
                  <c:v>44910</c:v>
                </c:pt>
                <c:pt idx="156">
                  <c:v>44941</c:v>
                </c:pt>
                <c:pt idx="157">
                  <c:v>44972</c:v>
                </c:pt>
                <c:pt idx="158">
                  <c:v>45000</c:v>
                </c:pt>
                <c:pt idx="159">
                  <c:v>45031</c:v>
                </c:pt>
                <c:pt idx="160">
                  <c:v>45061</c:v>
                </c:pt>
                <c:pt idx="161">
                  <c:v>45092</c:v>
                </c:pt>
                <c:pt idx="162">
                  <c:v>45122</c:v>
                </c:pt>
                <c:pt idx="163">
                  <c:v>45153</c:v>
                </c:pt>
                <c:pt idx="164">
                  <c:v>45184</c:v>
                </c:pt>
                <c:pt idx="165">
                  <c:v>45214</c:v>
                </c:pt>
                <c:pt idx="166">
                  <c:v>45245</c:v>
                </c:pt>
                <c:pt idx="167">
                  <c:v>45275</c:v>
                </c:pt>
                <c:pt idx="168">
                  <c:v>45306</c:v>
                </c:pt>
                <c:pt idx="169">
                  <c:v>45337</c:v>
                </c:pt>
                <c:pt idx="170">
                  <c:v>45366</c:v>
                </c:pt>
                <c:pt idx="171">
                  <c:v>45397</c:v>
                </c:pt>
                <c:pt idx="172">
                  <c:v>45427</c:v>
                </c:pt>
                <c:pt idx="173">
                  <c:v>45458</c:v>
                </c:pt>
                <c:pt idx="174">
                  <c:v>45488</c:v>
                </c:pt>
                <c:pt idx="175">
                  <c:v>45519</c:v>
                </c:pt>
                <c:pt idx="176">
                  <c:v>45550</c:v>
                </c:pt>
                <c:pt idx="177">
                  <c:v>45580</c:v>
                </c:pt>
                <c:pt idx="178">
                  <c:v>45611</c:v>
                </c:pt>
                <c:pt idx="179">
                  <c:v>45641</c:v>
                </c:pt>
              </c:numCache>
            </c:numRef>
          </c:cat>
          <c:val>
            <c:numRef>
              <c:f>Data!$C$140:$C$500</c:f>
              <c:numCache>
                <c:formatCode>General</c:formatCode>
                <c:ptCount val="361"/>
                <c:pt idx="0">
                  <c:v>0.80410000000000004</c:v>
                </c:pt>
                <c:pt idx="1">
                  <c:v>0.75690000000000002</c:v>
                </c:pt>
                <c:pt idx="2">
                  <c:v>1.1487000000000001</c:v>
                </c:pt>
                <c:pt idx="3">
                  <c:v>0.86529999999999996</c:v>
                </c:pt>
                <c:pt idx="4">
                  <c:v>0.93979999999999997</c:v>
                </c:pt>
                <c:pt idx="5">
                  <c:v>1.0043</c:v>
                </c:pt>
                <c:pt idx="6">
                  <c:v>0.9778</c:v>
                </c:pt>
                <c:pt idx="7">
                  <c:v>0.97440000000000004</c:v>
                </c:pt>
                <c:pt idx="8">
                  <c:v>1.1861999999999999</c:v>
                </c:pt>
                <c:pt idx="9">
                  <c:v>1.1395</c:v>
                </c:pt>
                <c:pt idx="10">
                  <c:v>1.1297999999999999</c:v>
                </c:pt>
                <c:pt idx="11">
                  <c:v>1.0501</c:v>
                </c:pt>
                <c:pt idx="12">
                  <c:v>1.0779000000000001</c:v>
                </c:pt>
                <c:pt idx="13">
                  <c:v>0.98729999999999996</c:v>
                </c:pt>
                <c:pt idx="14">
                  <c:v>1.3055000000000001</c:v>
                </c:pt>
                <c:pt idx="15">
                  <c:v>1.6097999999999999</c:v>
                </c:pt>
                <c:pt idx="16">
                  <c:v>1.4812000000000001</c:v>
                </c:pt>
                <c:pt idx="17">
                  <c:v>1.5443</c:v>
                </c:pt>
                <c:pt idx="18">
                  <c:v>1.2023999999999999</c:v>
                </c:pt>
                <c:pt idx="19">
                  <c:v>1.1982999999999999</c:v>
                </c:pt>
                <c:pt idx="20">
                  <c:v>1.6264000000000001</c:v>
                </c:pt>
                <c:pt idx="21">
                  <c:v>1.6005</c:v>
                </c:pt>
                <c:pt idx="22">
                  <c:v>1.5914999999999999</c:v>
                </c:pt>
                <c:pt idx="23">
                  <c:v>1.627</c:v>
                </c:pt>
                <c:pt idx="24">
                  <c:v>1.5143</c:v>
                </c:pt>
                <c:pt idx="25">
                  <c:v>1.5197000000000001</c:v>
                </c:pt>
                <c:pt idx="26">
                  <c:v>1.6029</c:v>
                </c:pt>
                <c:pt idx="27">
                  <c:v>1.5634999999999999</c:v>
                </c:pt>
                <c:pt idx="28">
                  <c:v>1.5742</c:v>
                </c:pt>
                <c:pt idx="29">
                  <c:v>1.5521</c:v>
                </c:pt>
                <c:pt idx="30">
                  <c:v>1.7033</c:v>
                </c:pt>
                <c:pt idx="31">
                  <c:v>1.5299</c:v>
                </c:pt>
                <c:pt idx="32">
                  <c:v>1.4964</c:v>
                </c:pt>
                <c:pt idx="33">
                  <c:v>1.4613</c:v>
                </c:pt>
                <c:pt idx="34">
                  <c:v>1.4213</c:v>
                </c:pt>
                <c:pt idx="35">
                  <c:v>1.4873000000000001</c:v>
                </c:pt>
                <c:pt idx="36">
                  <c:v>1.3342000000000001</c:v>
                </c:pt>
                <c:pt idx="37">
                  <c:v>1.2876000000000001</c:v>
                </c:pt>
                <c:pt idx="38">
                  <c:v>1.4847999999999999</c:v>
                </c:pt>
                <c:pt idx="39">
                  <c:v>0.97499999999999998</c:v>
                </c:pt>
                <c:pt idx="40">
                  <c:v>1.1802999999999999</c:v>
                </c:pt>
                <c:pt idx="41">
                  <c:v>1.1694</c:v>
                </c:pt>
                <c:pt idx="42">
                  <c:v>1.0854999999999999</c:v>
                </c:pt>
                <c:pt idx="43">
                  <c:v>1.0940000000000001</c:v>
                </c:pt>
                <c:pt idx="44">
                  <c:v>1.0239</c:v>
                </c:pt>
                <c:pt idx="45">
                  <c:v>0.83760000000000001</c:v>
                </c:pt>
                <c:pt idx="46">
                  <c:v>0.95130000000000003</c:v>
                </c:pt>
                <c:pt idx="47">
                  <c:v>0.71240000000000003</c:v>
                </c:pt>
                <c:pt idx="48">
                  <c:v>0.81899999999999995</c:v>
                </c:pt>
                <c:pt idx="49">
                  <c:v>0.98180000000000001</c:v>
                </c:pt>
                <c:pt idx="50">
                  <c:v>0.72140000000000004</c:v>
                </c:pt>
                <c:pt idx="51">
                  <c:v>1.0062</c:v>
                </c:pt>
                <c:pt idx="52">
                  <c:v>0.67969999999999997</c:v>
                </c:pt>
                <c:pt idx="53">
                  <c:v>0.76039999999999996</c:v>
                </c:pt>
                <c:pt idx="54">
                  <c:v>0.78749999999999998</c:v>
                </c:pt>
                <c:pt idx="55">
                  <c:v>0.93930000000000002</c:v>
                </c:pt>
                <c:pt idx="56">
                  <c:v>0.7601</c:v>
                </c:pt>
                <c:pt idx="57">
                  <c:v>0.70909999999999995</c:v>
                </c:pt>
                <c:pt idx="58">
                  <c:v>0.66879999999999995</c:v>
                </c:pt>
                <c:pt idx="59">
                  <c:v>0.74780000000000002</c:v>
                </c:pt>
                <c:pt idx="60">
                  <c:v>0.63749999999999996</c:v>
                </c:pt>
                <c:pt idx="61">
                  <c:v>0.68569999999999998</c:v>
                </c:pt>
                <c:pt idx="62">
                  <c:v>0.64559999999999995</c:v>
                </c:pt>
                <c:pt idx="63">
                  <c:v>0.92569999999999997</c:v>
                </c:pt>
                <c:pt idx="64">
                  <c:v>1.2796000000000001</c:v>
                </c:pt>
                <c:pt idx="65">
                  <c:v>1.1974</c:v>
                </c:pt>
                <c:pt idx="66">
                  <c:v>1.4003000000000001</c:v>
                </c:pt>
                <c:pt idx="67">
                  <c:v>1.3856999999999999</c:v>
                </c:pt>
                <c:pt idx="68">
                  <c:v>1.2975000000000001</c:v>
                </c:pt>
                <c:pt idx="69">
                  <c:v>1.4584999999999999</c:v>
                </c:pt>
                <c:pt idx="70">
                  <c:v>0.90590000000000004</c:v>
                </c:pt>
                <c:pt idx="71">
                  <c:v>0.91269999999999996</c:v>
                </c:pt>
                <c:pt idx="72">
                  <c:v>0.99109999999999998</c:v>
                </c:pt>
                <c:pt idx="73">
                  <c:v>0.87419999999999998</c:v>
                </c:pt>
                <c:pt idx="74">
                  <c:v>1.0324</c:v>
                </c:pt>
                <c:pt idx="75">
                  <c:v>0.71779999999999999</c:v>
                </c:pt>
                <c:pt idx="76">
                  <c:v>0.79590000000000005</c:v>
                </c:pt>
                <c:pt idx="77">
                  <c:v>0.79549999999999998</c:v>
                </c:pt>
                <c:pt idx="78">
                  <c:v>0.87060000000000004</c:v>
                </c:pt>
                <c:pt idx="79">
                  <c:v>0.79810000000000003</c:v>
                </c:pt>
                <c:pt idx="80">
                  <c:v>0.7944</c:v>
                </c:pt>
                <c:pt idx="81">
                  <c:v>0.74350000000000005</c:v>
                </c:pt>
                <c:pt idx="82">
                  <c:v>0.78800000000000003</c:v>
                </c:pt>
                <c:pt idx="83">
                  <c:v>0.8548</c:v>
                </c:pt>
                <c:pt idx="84">
                  <c:v>0.87009999999999998</c:v>
                </c:pt>
                <c:pt idx="85">
                  <c:v>0.83640000000000003</c:v>
                </c:pt>
                <c:pt idx="86">
                  <c:v>0.69440000000000002</c:v>
                </c:pt>
                <c:pt idx="87">
                  <c:v>1.2572000000000001</c:v>
                </c:pt>
                <c:pt idx="88">
                  <c:v>0.91790000000000005</c:v>
                </c:pt>
                <c:pt idx="89">
                  <c:v>1.1838</c:v>
                </c:pt>
                <c:pt idx="90">
                  <c:v>1.2102999999999999</c:v>
                </c:pt>
                <c:pt idx="91">
                  <c:v>1.2272000000000001</c:v>
                </c:pt>
                <c:pt idx="92">
                  <c:v>1.1526000000000001</c:v>
                </c:pt>
                <c:pt idx="93">
                  <c:v>0.87580000000000002</c:v>
                </c:pt>
                <c:pt idx="94">
                  <c:v>0.9204</c:v>
                </c:pt>
                <c:pt idx="95">
                  <c:v>0.91649999999999998</c:v>
                </c:pt>
                <c:pt idx="96">
                  <c:v>0.97289999999999999</c:v>
                </c:pt>
                <c:pt idx="97">
                  <c:v>0.99929999999999997</c:v>
                </c:pt>
                <c:pt idx="98">
                  <c:v>1.1133</c:v>
                </c:pt>
                <c:pt idx="99">
                  <c:v>0.73319999999999996</c:v>
                </c:pt>
                <c:pt idx="100">
                  <c:v>1.2323</c:v>
                </c:pt>
                <c:pt idx="101">
                  <c:v>0.96519999999999995</c:v>
                </c:pt>
                <c:pt idx="102">
                  <c:v>1.137</c:v>
                </c:pt>
                <c:pt idx="103">
                  <c:v>1.0364</c:v>
                </c:pt>
                <c:pt idx="104">
                  <c:v>0.95440000000000003</c:v>
                </c:pt>
                <c:pt idx="105">
                  <c:v>1.1803999999999999</c:v>
                </c:pt>
                <c:pt idx="106">
                  <c:v>0.93159999999999998</c:v>
                </c:pt>
                <c:pt idx="107">
                  <c:v>0.92769999999999997</c:v>
                </c:pt>
                <c:pt idx="108">
                  <c:v>1.1225000000000001</c:v>
                </c:pt>
                <c:pt idx="109">
                  <c:v>0.98939999999999995</c:v>
                </c:pt>
                <c:pt idx="110">
                  <c:v>0.76980000000000004</c:v>
                </c:pt>
                <c:pt idx="111">
                  <c:v>1.2907999999999999</c:v>
                </c:pt>
                <c:pt idx="112">
                  <c:v>0.78249999999999997</c:v>
                </c:pt>
                <c:pt idx="113">
                  <c:v>1.1201000000000001</c:v>
                </c:pt>
                <c:pt idx="114">
                  <c:v>0.87229999999999996</c:v>
                </c:pt>
                <c:pt idx="115">
                  <c:v>0.94830000000000003</c:v>
                </c:pt>
                <c:pt idx="116">
                  <c:v>1.0128999999999999</c:v>
                </c:pt>
                <c:pt idx="117">
                  <c:v>1.0702</c:v>
                </c:pt>
                <c:pt idx="118">
                  <c:v>1.3117000000000001</c:v>
                </c:pt>
                <c:pt idx="119">
                  <c:v>1.2966</c:v>
                </c:pt>
                <c:pt idx="120">
                  <c:v>1.0904</c:v>
                </c:pt>
                <c:pt idx="121">
                  <c:v>1.2149000000000001</c:v>
                </c:pt>
                <c:pt idx="122">
                  <c:v>1.0346</c:v>
                </c:pt>
                <c:pt idx="123">
                  <c:v>0.85270000000000001</c:v>
                </c:pt>
                <c:pt idx="124">
                  <c:v>0.90110000000000001</c:v>
                </c:pt>
                <c:pt idx="125">
                  <c:v>0.83079999999999998</c:v>
                </c:pt>
                <c:pt idx="126">
                  <c:v>1.1818</c:v>
                </c:pt>
                <c:pt idx="127">
                  <c:v>0.37380000000000002</c:v>
                </c:pt>
                <c:pt idx="128">
                  <c:v>0.21010000000000001</c:v>
                </c:pt>
                <c:pt idx="129">
                  <c:v>0.22889999999999999</c:v>
                </c:pt>
                <c:pt idx="130">
                  <c:v>0.24940000000000001</c:v>
                </c:pt>
                <c:pt idx="131">
                  <c:v>0.22919999999999999</c:v>
                </c:pt>
                <c:pt idx="132">
                  <c:v>1.409</c:v>
                </c:pt>
                <c:pt idx="133">
                  <c:v>1.1132</c:v>
                </c:pt>
                <c:pt idx="134">
                  <c:v>0.93789999999999996</c:v>
                </c:pt>
                <c:pt idx="135">
                  <c:v>0.74099999999999999</c:v>
                </c:pt>
                <c:pt idx="136">
                  <c:v>0.95</c:v>
                </c:pt>
                <c:pt idx="137">
                  <c:v>0.89019999999999999</c:v>
                </c:pt>
                <c:pt idx="138">
                  <c:v>0.71220000000000006</c:v>
                </c:pt>
                <c:pt idx="139">
                  <c:v>1.5662</c:v>
                </c:pt>
                <c:pt idx="140">
                  <c:v>1.8774</c:v>
                </c:pt>
                <c:pt idx="141">
                  <c:v>2.0463</c:v>
                </c:pt>
                <c:pt idx="142">
                  <c:v>2.6116999999999999</c:v>
                </c:pt>
                <c:pt idx="143">
                  <c:v>2.6208</c:v>
                </c:pt>
                <c:pt idx="144">
                  <c:v>2.2709999999999999</c:v>
                </c:pt>
                <c:pt idx="145">
                  <c:v>2.7187000000000001</c:v>
                </c:pt>
                <c:pt idx="146">
                  <c:v>2.9582000000000002</c:v>
                </c:pt>
                <c:pt idx="147">
                  <c:v>3.4798</c:v>
                </c:pt>
                <c:pt idx="148">
                  <c:v>3.7549000000000001</c:v>
                </c:pt>
                <c:pt idx="149">
                  <c:v>3.7265999999999999</c:v>
                </c:pt>
                <c:pt idx="150">
                  <c:v>4.0259999999999998</c:v>
                </c:pt>
                <c:pt idx="151">
                  <c:v>4.2971000000000004</c:v>
                </c:pt>
                <c:pt idx="152">
                  <c:v>4.7521000000000004</c:v>
                </c:pt>
                <c:pt idx="153">
                  <c:v>5.0176999999999996</c:v>
                </c:pt>
                <c:pt idx="154">
                  <c:v>4.9786000000000001</c:v>
                </c:pt>
                <c:pt idx="155">
                  <c:v>5.1726999999999999</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numCache>
            </c:numRef>
          </c:val>
          <c:smooth val="0"/>
          <c:extLst>
            <c:ext xmlns:c16="http://schemas.microsoft.com/office/drawing/2014/chart" uri="{C3380CC4-5D6E-409C-BE32-E72D297353CC}">
              <c16:uniqueId val="{00000001-442E-4CA7-B429-9CAB7401B1A3}"/>
            </c:ext>
          </c:extLst>
        </c:ser>
        <c:dLbls>
          <c:showLegendKey val="0"/>
          <c:showVal val="0"/>
          <c:showCatName val="0"/>
          <c:showSerName val="0"/>
          <c:showPercent val="0"/>
          <c:showBubbleSize val="0"/>
        </c:dLbls>
        <c:smooth val="0"/>
        <c:axId val="1300485032"/>
        <c:axId val="1300484376"/>
      </c:lineChart>
      <c:dateAx>
        <c:axId val="1300485032"/>
        <c:scaling>
          <c:orientation val="minMax"/>
          <c:max val="44896"/>
          <c:min val="42370"/>
        </c:scaling>
        <c:delete val="0"/>
        <c:axPos val="b"/>
        <c:numFmt formatCode="mmm\-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696969"/>
                </a:solidFill>
                <a:latin typeface="Amalia" panose="020B0504020203020204" pitchFamily="34" charset="0"/>
                <a:ea typeface="+mn-ea"/>
                <a:cs typeface="+mn-cs"/>
              </a:defRPr>
            </a:pPr>
            <a:endParaRPr lang="de-DE"/>
          </a:p>
        </c:txPr>
        <c:crossAx val="1300484376"/>
        <c:crossesAt val="-2"/>
        <c:auto val="1"/>
        <c:lblOffset val="100"/>
        <c:baseTimeUnit val="months"/>
        <c:majorUnit val="12"/>
        <c:majorTimeUnit val="months"/>
      </c:dateAx>
      <c:valAx>
        <c:axId val="130048437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rgbClr val="696969"/>
                </a:solidFill>
                <a:latin typeface="Amalia" panose="020B0504020203020204" pitchFamily="34" charset="0"/>
                <a:ea typeface="+mn-ea"/>
                <a:cs typeface="+mn-cs"/>
              </a:defRPr>
            </a:pPr>
            <a:endParaRPr lang="de-DE"/>
          </a:p>
        </c:txPr>
        <c:crossAx val="1300485032"/>
        <c:crosses val="autoZero"/>
        <c:crossBetween val="between"/>
      </c:valAx>
      <c:spPr>
        <a:noFill/>
        <a:ln>
          <a:noFill/>
        </a:ln>
        <a:effectLst/>
      </c:spPr>
    </c:plotArea>
    <c:legend>
      <c:legendPos val="b"/>
      <c:layout>
        <c:manualLayout>
          <c:xMode val="edge"/>
          <c:yMode val="edge"/>
          <c:x val="1.9807947302039056E-2"/>
          <c:y val="0.85197226608136534"/>
          <c:w val="0.96349999999999991"/>
          <c:h val="0.11138364197530862"/>
        </c:manualLayout>
      </c:layout>
      <c:overlay val="0"/>
      <c:spPr>
        <a:noFill/>
        <a:ln>
          <a:noFill/>
        </a:ln>
        <a:effectLst/>
      </c:spPr>
      <c:txPr>
        <a:bodyPr rot="0" spcFirstLastPara="1" vertOverflow="ellipsis" vert="horz" wrap="square" anchor="ctr" anchorCtr="1"/>
        <a:lstStyle/>
        <a:p>
          <a:pPr>
            <a:defRPr sz="1800" b="0" i="0" u="none" strike="noStrike" kern="1200" baseline="0">
              <a:solidFill>
                <a:srgbClr val="696969"/>
              </a:solidFill>
              <a:latin typeface="Amalia" panose="020B0504020203020204" pitchFamily="34" charset="0"/>
              <a:ea typeface="+mn-ea"/>
              <a:cs typeface="+mn-cs"/>
            </a:defRPr>
          </a:pPr>
          <a:endParaRPr lang="de-DE"/>
        </a:p>
      </c:txPr>
    </c:legend>
    <c:plotVisOnly val="1"/>
    <c:dispBlanksAs val="gap"/>
    <c:showDLblsOverMax val="0"/>
    <c:extLst/>
  </c:chart>
  <c:spPr>
    <a:solidFill>
      <a:schemeClr val="bg1"/>
    </a:solidFill>
    <a:ln w="9525" cap="flat" cmpd="sng" algn="ctr">
      <a:noFill/>
      <a:round/>
    </a:ln>
    <a:effectLst/>
  </c:spPr>
  <c:txPr>
    <a:bodyPr/>
    <a:lstStyle/>
    <a:p>
      <a:pPr>
        <a:defRPr sz="1600">
          <a:solidFill>
            <a:srgbClr val="696969"/>
          </a:solidFill>
          <a:latin typeface="Amalia" panose="020B0504020203020204" pitchFamily="34" charset="0"/>
        </a:defRPr>
      </a:pPr>
      <a:endParaRPr lang="de-DE"/>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Amalia" panose="020B0504020203020204" pitchFamily="34" charset="0"/>
                <a:ea typeface="+mn-ea"/>
                <a:cs typeface="+mn-cs"/>
              </a:defRPr>
            </a:pPr>
            <a:r>
              <a:rPr lang="de-DE" sz="2000"/>
              <a:t>Monatliche Kreditrate in % des Netto-Haushaltseinkommen*</a:t>
            </a:r>
            <a:endParaRPr lang="de-AT" sz="200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lineChart>
        <c:grouping val="standard"/>
        <c:varyColors val="0"/>
        <c:ser>
          <c:idx val="1"/>
          <c:order val="0"/>
          <c:tx>
            <c:strRef>
              <c:f>'Matrix Übersicht'!$B$27</c:f>
              <c:strCache>
                <c:ptCount val="1"/>
                <c:pt idx="0">
                  <c:v>Vbg.</c:v>
                </c:pt>
              </c:strCache>
            </c:strRef>
          </c:tx>
          <c:spPr>
            <a:ln w="28575" cap="rnd">
              <a:solidFill>
                <a:schemeClr val="accent2"/>
              </a:solidFill>
              <a:round/>
            </a:ln>
            <a:effectLst/>
          </c:spPr>
          <c:marker>
            <c:symbol val="none"/>
          </c:marker>
          <c:dPt>
            <c:idx val="17"/>
            <c:marker>
              <c:symbol val="none"/>
            </c:marker>
            <c:bubble3D val="0"/>
            <c:spPr>
              <a:ln w="28575" cap="rnd">
                <a:solidFill>
                  <a:schemeClr val="accent2"/>
                </a:solidFill>
                <a:prstDash val="sysDot"/>
                <a:round/>
              </a:ln>
              <a:effectLst/>
            </c:spPr>
            <c:extLst>
              <c:ext xmlns:c16="http://schemas.microsoft.com/office/drawing/2014/chart" uri="{C3380CC4-5D6E-409C-BE32-E72D297353CC}">
                <c16:uniqueId val="{00000001-1917-455E-8D14-C97FF89A6F75}"/>
              </c:ext>
            </c:extLst>
          </c:dPt>
          <c:cat>
            <c:numRef>
              <c:f>'Matrix Übersicht'!$C$25:$T$25</c:f>
              <c:numCache>
                <c:formatCode>General</c:formatCode>
                <c:ptCount val="18"/>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numCache>
            </c:numRef>
          </c:cat>
          <c:val>
            <c:numRef>
              <c:f>'Matrix Übersicht'!$C$27:$T$27</c:f>
              <c:numCache>
                <c:formatCode>0.0</c:formatCode>
                <c:ptCount val="18"/>
                <c:pt idx="0">
                  <c:v>49.254020570132141</c:v>
                </c:pt>
                <c:pt idx="1">
                  <c:v>49.154000292121637</c:v>
                </c:pt>
                <c:pt idx="2">
                  <c:v>59.699662327789973</c:v>
                </c:pt>
                <c:pt idx="3">
                  <c:v>59.376507093351307</c:v>
                </c:pt>
                <c:pt idx="4">
                  <c:v>45.902501146550797</c:v>
                </c:pt>
                <c:pt idx="5">
                  <c:v>40.873994445631432</c:v>
                </c:pt>
                <c:pt idx="6">
                  <c:v>39.251213876050109</c:v>
                </c:pt>
                <c:pt idx="7">
                  <c:v>41.220111149421662</c:v>
                </c:pt>
                <c:pt idx="8">
                  <c:v>39.734152456965496</c:v>
                </c:pt>
                <c:pt idx="9">
                  <c:v>40.233371911531314</c:v>
                </c:pt>
                <c:pt idx="10">
                  <c:v>40.36236443380001</c:v>
                </c:pt>
                <c:pt idx="11">
                  <c:v>39.844808973737663</c:v>
                </c:pt>
                <c:pt idx="12">
                  <c:v>45.795654347804579</c:v>
                </c:pt>
                <c:pt idx="13">
                  <c:v>48.707455890784409</c:v>
                </c:pt>
                <c:pt idx="14">
                  <c:v>48.15251080823348</c:v>
                </c:pt>
                <c:pt idx="15">
                  <c:v>48.45713477210046</c:v>
                </c:pt>
                <c:pt idx="16">
                  <c:v>53.019838304967514</c:v>
                </c:pt>
                <c:pt idx="17">
                  <c:v>61.243613336567279</c:v>
                </c:pt>
              </c:numCache>
            </c:numRef>
          </c:val>
          <c:smooth val="0"/>
          <c:extLst>
            <c:ext xmlns:c16="http://schemas.microsoft.com/office/drawing/2014/chart" uri="{C3380CC4-5D6E-409C-BE32-E72D297353CC}">
              <c16:uniqueId val="{00000002-1917-455E-8D14-C97FF89A6F75}"/>
            </c:ext>
          </c:extLst>
        </c:ser>
        <c:ser>
          <c:idx val="3"/>
          <c:order val="1"/>
          <c:tx>
            <c:strRef>
              <c:f>'Matrix Übersicht'!$B$29</c:f>
              <c:strCache>
                <c:ptCount val="1"/>
                <c:pt idx="0">
                  <c:v>Sbg.</c:v>
                </c:pt>
              </c:strCache>
            </c:strRef>
          </c:tx>
          <c:spPr>
            <a:ln w="28575" cap="rnd">
              <a:solidFill>
                <a:schemeClr val="accent4"/>
              </a:solidFill>
              <a:round/>
            </a:ln>
            <a:effectLst/>
          </c:spPr>
          <c:marker>
            <c:symbol val="none"/>
          </c:marker>
          <c:dPt>
            <c:idx val="17"/>
            <c:marker>
              <c:symbol val="none"/>
            </c:marker>
            <c:bubble3D val="0"/>
            <c:spPr>
              <a:ln w="28575" cap="rnd">
                <a:solidFill>
                  <a:schemeClr val="accent4"/>
                </a:solidFill>
                <a:prstDash val="sysDot"/>
                <a:round/>
              </a:ln>
              <a:effectLst/>
            </c:spPr>
            <c:extLst>
              <c:ext xmlns:c16="http://schemas.microsoft.com/office/drawing/2014/chart" uri="{C3380CC4-5D6E-409C-BE32-E72D297353CC}">
                <c16:uniqueId val="{00000004-1917-455E-8D14-C97FF89A6F75}"/>
              </c:ext>
            </c:extLst>
          </c:dPt>
          <c:cat>
            <c:numRef>
              <c:f>'Matrix Übersicht'!$C$25:$T$25</c:f>
              <c:numCache>
                <c:formatCode>General</c:formatCode>
                <c:ptCount val="18"/>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numCache>
            </c:numRef>
          </c:cat>
          <c:val>
            <c:numRef>
              <c:f>'Matrix Übersicht'!$C$29:$T$29</c:f>
              <c:numCache>
                <c:formatCode>0.0</c:formatCode>
                <c:ptCount val="18"/>
                <c:pt idx="0">
                  <c:v>52.536081188788955</c:v>
                </c:pt>
                <c:pt idx="1">
                  <c:v>52.837466802522805</c:v>
                </c:pt>
                <c:pt idx="2">
                  <c:v>64.346176175535433</c:v>
                </c:pt>
                <c:pt idx="3">
                  <c:v>64.642691235821076</c:v>
                </c:pt>
                <c:pt idx="4">
                  <c:v>48.645168197893206</c:v>
                </c:pt>
                <c:pt idx="5">
                  <c:v>43.896468288927281</c:v>
                </c:pt>
                <c:pt idx="6">
                  <c:v>43.009133567893151</c:v>
                </c:pt>
                <c:pt idx="7">
                  <c:v>44.436155763297144</c:v>
                </c:pt>
                <c:pt idx="8">
                  <c:v>42.089816207831369</c:v>
                </c:pt>
                <c:pt idx="9">
                  <c:v>43.772789053179558</c:v>
                </c:pt>
                <c:pt idx="10">
                  <c:v>43.815908148906217</c:v>
                </c:pt>
                <c:pt idx="11">
                  <c:v>45.640722735227982</c:v>
                </c:pt>
                <c:pt idx="12">
                  <c:v>46.457219152373654</c:v>
                </c:pt>
                <c:pt idx="13">
                  <c:v>45.281112632859283</c:v>
                </c:pt>
                <c:pt idx="14">
                  <c:v>44.853615264329598</c:v>
                </c:pt>
                <c:pt idx="15">
                  <c:v>47.522718906320684</c:v>
                </c:pt>
                <c:pt idx="16">
                  <c:v>52.000106168377357</c:v>
                </c:pt>
                <c:pt idx="17">
                  <c:v>60.065713088720848</c:v>
                </c:pt>
              </c:numCache>
            </c:numRef>
          </c:val>
          <c:smooth val="0"/>
          <c:extLst>
            <c:ext xmlns:c16="http://schemas.microsoft.com/office/drawing/2014/chart" uri="{C3380CC4-5D6E-409C-BE32-E72D297353CC}">
              <c16:uniqueId val="{00000005-1917-455E-8D14-C97FF89A6F75}"/>
            </c:ext>
          </c:extLst>
        </c:ser>
        <c:ser>
          <c:idx val="4"/>
          <c:order val="2"/>
          <c:tx>
            <c:strRef>
              <c:f>'Matrix Übersicht'!$B$30</c:f>
              <c:strCache>
                <c:ptCount val="1"/>
                <c:pt idx="0">
                  <c:v>OÖ</c:v>
                </c:pt>
              </c:strCache>
            </c:strRef>
          </c:tx>
          <c:spPr>
            <a:ln w="28575" cap="rnd">
              <a:solidFill>
                <a:schemeClr val="accent1"/>
              </a:solidFill>
              <a:round/>
            </a:ln>
            <a:effectLst/>
          </c:spPr>
          <c:marker>
            <c:symbol val="none"/>
          </c:marker>
          <c:dPt>
            <c:idx val="17"/>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07-1917-455E-8D14-C97FF89A6F75}"/>
              </c:ext>
            </c:extLst>
          </c:dPt>
          <c:cat>
            <c:numRef>
              <c:f>'Matrix Übersicht'!$C$25:$T$25</c:f>
              <c:numCache>
                <c:formatCode>General</c:formatCode>
                <c:ptCount val="18"/>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numCache>
            </c:numRef>
          </c:cat>
          <c:val>
            <c:numRef>
              <c:f>'Matrix Übersicht'!$C$30:$T$30</c:f>
              <c:numCache>
                <c:formatCode>0.0</c:formatCode>
                <c:ptCount val="18"/>
                <c:pt idx="0">
                  <c:v>30.563999969911681</c:v>
                </c:pt>
                <c:pt idx="1">
                  <c:v>31.007223779000416</c:v>
                </c:pt>
                <c:pt idx="2">
                  <c:v>37.90229475055186</c:v>
                </c:pt>
                <c:pt idx="3">
                  <c:v>37.647824860408534</c:v>
                </c:pt>
                <c:pt idx="4">
                  <c:v>29.091296380761307</c:v>
                </c:pt>
                <c:pt idx="5">
                  <c:v>26.104519121681776</c:v>
                </c:pt>
                <c:pt idx="6">
                  <c:v>25.165498546622118</c:v>
                </c:pt>
                <c:pt idx="7">
                  <c:v>25.956650210083886</c:v>
                </c:pt>
                <c:pt idx="8">
                  <c:v>25.475558522312209</c:v>
                </c:pt>
                <c:pt idx="9">
                  <c:v>25.940168183524055</c:v>
                </c:pt>
                <c:pt idx="10">
                  <c:v>25.815848285447103</c:v>
                </c:pt>
                <c:pt idx="11">
                  <c:v>26.127547943288633</c:v>
                </c:pt>
                <c:pt idx="12">
                  <c:v>26.843504833242687</c:v>
                </c:pt>
                <c:pt idx="13">
                  <c:v>26.902070468796612</c:v>
                </c:pt>
                <c:pt idx="14">
                  <c:v>28.209952131853193</c:v>
                </c:pt>
                <c:pt idx="15">
                  <c:v>28.074127750862608</c:v>
                </c:pt>
                <c:pt idx="16">
                  <c:v>29.371953540013035</c:v>
                </c:pt>
                <c:pt idx="17">
                  <c:v>33.927764079500029</c:v>
                </c:pt>
              </c:numCache>
            </c:numRef>
          </c:val>
          <c:smooth val="0"/>
          <c:extLst>
            <c:ext xmlns:c16="http://schemas.microsoft.com/office/drawing/2014/chart" uri="{C3380CC4-5D6E-409C-BE32-E72D297353CC}">
              <c16:uniqueId val="{00000008-1917-455E-8D14-C97FF89A6F75}"/>
            </c:ext>
          </c:extLst>
        </c:ser>
        <c:ser>
          <c:idx val="7"/>
          <c:order val="3"/>
          <c:tx>
            <c:strRef>
              <c:f>'Matrix Übersicht'!$B$33</c:f>
              <c:strCache>
                <c:ptCount val="1"/>
                <c:pt idx="0">
                  <c:v>Ktn.</c:v>
                </c:pt>
              </c:strCache>
            </c:strRef>
          </c:tx>
          <c:spPr>
            <a:ln w="28575" cap="rnd">
              <a:solidFill>
                <a:schemeClr val="accent5"/>
              </a:solidFill>
              <a:round/>
            </a:ln>
            <a:effectLst/>
          </c:spPr>
          <c:marker>
            <c:symbol val="none"/>
          </c:marker>
          <c:dPt>
            <c:idx val="17"/>
            <c:marker>
              <c:symbol val="none"/>
            </c:marker>
            <c:bubble3D val="0"/>
            <c:spPr>
              <a:ln w="28575" cap="rnd">
                <a:solidFill>
                  <a:schemeClr val="accent5"/>
                </a:solidFill>
                <a:prstDash val="sysDot"/>
                <a:round/>
              </a:ln>
              <a:effectLst/>
            </c:spPr>
            <c:extLst>
              <c:ext xmlns:c16="http://schemas.microsoft.com/office/drawing/2014/chart" uri="{C3380CC4-5D6E-409C-BE32-E72D297353CC}">
                <c16:uniqueId val="{0000000A-1917-455E-8D14-C97FF89A6F75}"/>
              </c:ext>
            </c:extLst>
          </c:dPt>
          <c:cat>
            <c:numRef>
              <c:f>'Matrix Übersicht'!$C$25:$T$25</c:f>
              <c:numCache>
                <c:formatCode>General</c:formatCode>
                <c:ptCount val="18"/>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numCache>
            </c:numRef>
          </c:cat>
          <c:val>
            <c:numRef>
              <c:f>'Matrix Übersicht'!$C$33:$T$33</c:f>
              <c:numCache>
                <c:formatCode>0.0</c:formatCode>
                <c:ptCount val="18"/>
                <c:pt idx="0">
                  <c:v>24.093943066787173</c:v>
                </c:pt>
                <c:pt idx="1">
                  <c:v>24.323243989494355</c:v>
                </c:pt>
                <c:pt idx="2">
                  <c:v>29.482375294374926</c:v>
                </c:pt>
                <c:pt idx="3">
                  <c:v>29.270430093070843</c:v>
                </c:pt>
                <c:pt idx="4">
                  <c:v>22.761906414450923</c:v>
                </c:pt>
                <c:pt idx="5">
                  <c:v>20.463790330901375</c:v>
                </c:pt>
                <c:pt idx="6">
                  <c:v>19.846082477151114</c:v>
                </c:pt>
                <c:pt idx="7">
                  <c:v>20.477932869296545</c:v>
                </c:pt>
                <c:pt idx="8">
                  <c:v>19.722226918420414</c:v>
                </c:pt>
                <c:pt idx="9">
                  <c:v>20.277266022976729</c:v>
                </c:pt>
                <c:pt idx="10">
                  <c:v>20.069452223533261</c:v>
                </c:pt>
                <c:pt idx="11">
                  <c:v>22.031190546583108</c:v>
                </c:pt>
                <c:pt idx="12">
                  <c:v>22.878439256211252</c:v>
                </c:pt>
                <c:pt idx="13">
                  <c:v>22.143930699844784</c:v>
                </c:pt>
                <c:pt idx="14">
                  <c:v>22.043850387309799</c:v>
                </c:pt>
                <c:pt idx="15">
                  <c:v>22.295232511449512</c:v>
                </c:pt>
                <c:pt idx="16">
                  <c:v>22.742437076128439</c:v>
                </c:pt>
                <c:pt idx="17">
                  <c:v>26.269959832961721</c:v>
                </c:pt>
              </c:numCache>
            </c:numRef>
          </c:val>
          <c:smooth val="0"/>
          <c:extLst>
            <c:ext xmlns:c16="http://schemas.microsoft.com/office/drawing/2014/chart" uri="{C3380CC4-5D6E-409C-BE32-E72D297353CC}">
              <c16:uniqueId val="{0000000B-1917-455E-8D14-C97FF89A6F75}"/>
            </c:ext>
          </c:extLst>
        </c:ser>
        <c:ser>
          <c:idx val="8"/>
          <c:order val="4"/>
          <c:tx>
            <c:strRef>
              <c:f>'Matrix Übersicht'!$B$34</c:f>
              <c:strCache>
                <c:ptCount val="1"/>
                <c:pt idx="0">
                  <c:v>Bgld.</c:v>
                </c:pt>
              </c:strCache>
            </c:strRef>
          </c:tx>
          <c:spPr>
            <a:ln w="28575" cap="rnd">
              <a:solidFill>
                <a:schemeClr val="accent3">
                  <a:lumMod val="60000"/>
                </a:schemeClr>
              </a:solidFill>
              <a:round/>
            </a:ln>
            <a:effectLst/>
          </c:spPr>
          <c:marker>
            <c:symbol val="none"/>
          </c:marker>
          <c:dPt>
            <c:idx val="17"/>
            <c:marker>
              <c:symbol val="none"/>
            </c:marker>
            <c:bubble3D val="0"/>
            <c:spPr>
              <a:ln w="28575" cap="rnd">
                <a:solidFill>
                  <a:schemeClr val="accent3">
                    <a:lumMod val="60000"/>
                  </a:schemeClr>
                </a:solidFill>
                <a:prstDash val="sysDot"/>
                <a:round/>
              </a:ln>
              <a:effectLst/>
            </c:spPr>
            <c:extLst>
              <c:ext xmlns:c16="http://schemas.microsoft.com/office/drawing/2014/chart" uri="{C3380CC4-5D6E-409C-BE32-E72D297353CC}">
                <c16:uniqueId val="{0000000D-1917-455E-8D14-C97FF89A6F75}"/>
              </c:ext>
            </c:extLst>
          </c:dPt>
          <c:cat>
            <c:numRef>
              <c:f>'Matrix Übersicht'!$C$25:$T$25</c:f>
              <c:numCache>
                <c:formatCode>General</c:formatCode>
                <c:ptCount val="18"/>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numCache>
            </c:numRef>
          </c:cat>
          <c:val>
            <c:numRef>
              <c:f>'Matrix Übersicht'!$C$34:$T$34</c:f>
              <c:numCache>
                <c:formatCode>0.0</c:formatCode>
                <c:ptCount val="18"/>
                <c:pt idx="0">
                  <c:v>16.979500196333994</c:v>
                </c:pt>
                <c:pt idx="1">
                  <c:v>17.245475799184291</c:v>
                </c:pt>
                <c:pt idx="2">
                  <c:v>20.996614149407193</c:v>
                </c:pt>
                <c:pt idx="3">
                  <c:v>21.09394080038852</c:v>
                </c:pt>
                <c:pt idx="4">
                  <c:v>16.157262450400623</c:v>
                </c:pt>
                <c:pt idx="5">
                  <c:v>14.495745267295865</c:v>
                </c:pt>
                <c:pt idx="6">
                  <c:v>14.218377261050472</c:v>
                </c:pt>
                <c:pt idx="7">
                  <c:v>14.433370118379793</c:v>
                </c:pt>
                <c:pt idx="8">
                  <c:v>14.324097983555461</c:v>
                </c:pt>
                <c:pt idx="9">
                  <c:v>14.386827172453504</c:v>
                </c:pt>
                <c:pt idx="10">
                  <c:v>14.485700894066184</c:v>
                </c:pt>
                <c:pt idx="11">
                  <c:v>15.087784358943368</c:v>
                </c:pt>
                <c:pt idx="12">
                  <c:v>15.644366259443437</c:v>
                </c:pt>
                <c:pt idx="13">
                  <c:v>15.958956348175137</c:v>
                </c:pt>
                <c:pt idx="14">
                  <c:v>16.978572209159697</c:v>
                </c:pt>
                <c:pt idx="15">
                  <c:v>17.339534845684405</c:v>
                </c:pt>
                <c:pt idx="16">
                  <c:v>18.907742256302573</c:v>
                </c:pt>
                <c:pt idx="17">
                  <c:v>21.840475052976089</c:v>
                </c:pt>
              </c:numCache>
            </c:numRef>
          </c:val>
          <c:smooth val="0"/>
          <c:extLst>
            <c:ext xmlns:c16="http://schemas.microsoft.com/office/drawing/2014/chart" uri="{C3380CC4-5D6E-409C-BE32-E72D297353CC}">
              <c16:uniqueId val="{0000000E-1917-455E-8D14-C97FF89A6F75}"/>
            </c:ext>
          </c:extLst>
        </c:ser>
        <c:ser>
          <c:idx val="0"/>
          <c:order val="5"/>
          <c:tx>
            <c:strRef>
              <c:f>'Matrix Übersicht'!$B$28</c:f>
              <c:strCache>
                <c:ptCount val="1"/>
                <c:pt idx="0">
                  <c:v>T</c:v>
                </c:pt>
              </c:strCache>
            </c:strRef>
          </c:tx>
          <c:spPr>
            <a:ln w="28575" cap="rnd">
              <a:solidFill>
                <a:srgbClr val="FF0000"/>
              </a:solidFill>
              <a:round/>
            </a:ln>
            <a:effectLst/>
          </c:spPr>
          <c:marker>
            <c:symbol val="none"/>
          </c:marker>
          <c:dPt>
            <c:idx val="17"/>
            <c:marker>
              <c:symbol val="none"/>
            </c:marker>
            <c:bubble3D val="0"/>
            <c:spPr>
              <a:ln w="28575" cap="rnd">
                <a:solidFill>
                  <a:srgbClr val="FF0000"/>
                </a:solidFill>
                <a:prstDash val="sysDot"/>
                <a:round/>
              </a:ln>
              <a:effectLst/>
            </c:spPr>
            <c:extLst>
              <c:ext xmlns:c16="http://schemas.microsoft.com/office/drawing/2014/chart" uri="{C3380CC4-5D6E-409C-BE32-E72D297353CC}">
                <c16:uniqueId val="{00000010-1917-455E-8D14-C97FF89A6F75}"/>
              </c:ext>
            </c:extLst>
          </c:dPt>
          <c:val>
            <c:numRef>
              <c:f>'Matrix Übersicht'!$C$28:$T$28</c:f>
              <c:numCache>
                <c:formatCode>0.0</c:formatCode>
                <c:ptCount val="18"/>
                <c:pt idx="0">
                  <c:v>39.474567255666486</c:v>
                </c:pt>
                <c:pt idx="1">
                  <c:v>40.051703704390498</c:v>
                </c:pt>
                <c:pt idx="2">
                  <c:v>49.551997990087848</c:v>
                </c:pt>
                <c:pt idx="3">
                  <c:v>48.273524765382945</c:v>
                </c:pt>
                <c:pt idx="4">
                  <c:v>36.530831457098934</c:v>
                </c:pt>
                <c:pt idx="5">
                  <c:v>33.610712310293209</c:v>
                </c:pt>
                <c:pt idx="6">
                  <c:v>32.993163544539833</c:v>
                </c:pt>
                <c:pt idx="7">
                  <c:v>33.762956839762381</c:v>
                </c:pt>
                <c:pt idx="8">
                  <c:v>31.954275868322195</c:v>
                </c:pt>
                <c:pt idx="9">
                  <c:v>32.87721355437337</c:v>
                </c:pt>
                <c:pt idx="10">
                  <c:v>33.367255836787038</c:v>
                </c:pt>
                <c:pt idx="11">
                  <c:v>38.124557878361728</c:v>
                </c:pt>
                <c:pt idx="12">
                  <c:v>41.102270668549629</c:v>
                </c:pt>
                <c:pt idx="13">
                  <c:v>39.774981889213258</c:v>
                </c:pt>
                <c:pt idx="14">
                  <c:v>41.139758060057794</c:v>
                </c:pt>
                <c:pt idx="15">
                  <c:v>44.987404344925444</c:v>
                </c:pt>
                <c:pt idx="16">
                  <c:v>49.039144252227487</c:v>
                </c:pt>
                <c:pt idx="17">
                  <c:v>56.645483746376833</c:v>
                </c:pt>
              </c:numCache>
            </c:numRef>
          </c:val>
          <c:smooth val="0"/>
          <c:extLst>
            <c:ext xmlns:c16="http://schemas.microsoft.com/office/drawing/2014/chart" uri="{C3380CC4-5D6E-409C-BE32-E72D297353CC}">
              <c16:uniqueId val="{00000011-1917-455E-8D14-C97FF89A6F75}"/>
            </c:ext>
          </c:extLst>
        </c:ser>
        <c:ser>
          <c:idx val="2"/>
          <c:order val="6"/>
          <c:tx>
            <c:strRef>
              <c:f>'Matrix Übersicht'!$B$32</c:f>
              <c:strCache>
                <c:ptCount val="1"/>
                <c:pt idx="0">
                  <c:v>Stmk.</c:v>
                </c:pt>
              </c:strCache>
            </c:strRef>
          </c:tx>
          <c:spPr>
            <a:ln w="28575" cap="rnd">
              <a:solidFill>
                <a:schemeClr val="accent3"/>
              </a:solidFill>
              <a:round/>
            </a:ln>
            <a:effectLst/>
          </c:spPr>
          <c:marker>
            <c:symbol val="none"/>
          </c:marker>
          <c:dPt>
            <c:idx val="17"/>
            <c:marker>
              <c:symbol val="none"/>
            </c:marker>
            <c:bubble3D val="0"/>
            <c:spPr>
              <a:ln w="28575" cap="rnd">
                <a:solidFill>
                  <a:schemeClr val="accent3"/>
                </a:solidFill>
                <a:prstDash val="sysDot"/>
                <a:round/>
              </a:ln>
              <a:effectLst/>
            </c:spPr>
            <c:extLst>
              <c:ext xmlns:c16="http://schemas.microsoft.com/office/drawing/2014/chart" uri="{C3380CC4-5D6E-409C-BE32-E72D297353CC}">
                <c16:uniqueId val="{00000013-1917-455E-8D14-C97FF89A6F75}"/>
              </c:ext>
            </c:extLst>
          </c:dPt>
          <c:val>
            <c:numRef>
              <c:f>'Matrix Übersicht'!$C$32:$T$32</c:f>
              <c:numCache>
                <c:formatCode>0.0</c:formatCode>
                <c:ptCount val="18"/>
                <c:pt idx="0">
                  <c:v>26.688479792214469</c:v>
                </c:pt>
                <c:pt idx="1">
                  <c:v>26.49802286299483</c:v>
                </c:pt>
                <c:pt idx="2">
                  <c:v>32.348548203493884</c:v>
                </c:pt>
                <c:pt idx="3">
                  <c:v>32.47419069322833</c:v>
                </c:pt>
                <c:pt idx="4">
                  <c:v>25.215316892359812</c:v>
                </c:pt>
                <c:pt idx="5">
                  <c:v>22.519758891048149</c:v>
                </c:pt>
                <c:pt idx="6">
                  <c:v>21.564455507825407</c:v>
                </c:pt>
                <c:pt idx="7">
                  <c:v>22.424794577437602</c:v>
                </c:pt>
                <c:pt idx="8">
                  <c:v>21.861102906658122</c:v>
                </c:pt>
                <c:pt idx="9">
                  <c:v>22.542957116214733</c:v>
                </c:pt>
                <c:pt idx="10">
                  <c:v>22.33170448761302</c:v>
                </c:pt>
                <c:pt idx="11">
                  <c:v>23.173282149857553</c:v>
                </c:pt>
                <c:pt idx="12">
                  <c:v>24.489131070581465</c:v>
                </c:pt>
                <c:pt idx="13">
                  <c:v>24.302215411715782</c:v>
                </c:pt>
                <c:pt idx="14">
                  <c:v>23.949621421892086</c:v>
                </c:pt>
                <c:pt idx="15">
                  <c:v>23.804213569969434</c:v>
                </c:pt>
                <c:pt idx="16">
                  <c:v>24.986454554957277</c:v>
                </c:pt>
                <c:pt idx="17">
                  <c:v>28.862041272429543</c:v>
                </c:pt>
              </c:numCache>
            </c:numRef>
          </c:val>
          <c:smooth val="0"/>
          <c:extLst>
            <c:ext xmlns:c16="http://schemas.microsoft.com/office/drawing/2014/chart" uri="{C3380CC4-5D6E-409C-BE32-E72D297353CC}">
              <c16:uniqueId val="{00000014-1917-455E-8D14-C97FF89A6F75}"/>
            </c:ext>
          </c:extLst>
        </c:ser>
        <c:dLbls>
          <c:showLegendKey val="0"/>
          <c:showVal val="0"/>
          <c:showCatName val="0"/>
          <c:showSerName val="0"/>
          <c:showPercent val="0"/>
          <c:showBubbleSize val="0"/>
        </c:dLbls>
        <c:smooth val="0"/>
        <c:axId val="38769239"/>
        <c:axId val="38773175"/>
      </c:lineChart>
      <c:catAx>
        <c:axId val="38769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38773175"/>
        <c:crosses val="autoZero"/>
        <c:auto val="1"/>
        <c:lblAlgn val="ctr"/>
        <c:lblOffset val="100"/>
        <c:tickLblSkip val="1"/>
        <c:noMultiLvlLbl val="0"/>
      </c:catAx>
      <c:valAx>
        <c:axId val="3877317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38769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Lbl>
              <c:idx val="0"/>
              <c:layout>
                <c:manualLayout>
                  <c:x val="-9.8048828316501975E-3"/>
                  <c:y val="2.3394091794486486E-2"/>
                </c:manualLayout>
              </c:layout>
              <c:tx>
                <c:rich>
                  <a:bodyPr/>
                  <a:lstStyle/>
                  <a:p>
                    <a:fld id="{A6A19D2B-572E-401E-B061-BC15B53C8728}"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8CB0-4EEB-AE12-BF3147716D55}"/>
                </c:ext>
              </c:extLst>
            </c:dLbl>
            <c:dLbl>
              <c:idx val="1"/>
              <c:layout>
                <c:manualLayout>
                  <c:x val="-6.8643907500580956E-2"/>
                  <c:y val="2.2101583573294944E-2"/>
                </c:manualLayout>
              </c:layout>
              <c:tx>
                <c:rich>
                  <a:bodyPr/>
                  <a:lstStyle/>
                  <a:p>
                    <a:fld id="{12397DD2-6BAF-4112-AEE0-3DA8DA91E9C8}"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CB0-4EEB-AE12-BF3147716D55}"/>
                </c:ext>
              </c:extLst>
            </c:dLbl>
            <c:dLbl>
              <c:idx val="2"/>
              <c:layout>
                <c:manualLayout>
                  <c:x val="-0.18004865458352376"/>
                  <c:y val="-1.5195764969822537E-2"/>
                </c:manualLayout>
              </c:layout>
              <c:tx>
                <c:rich>
                  <a:bodyPr/>
                  <a:lstStyle/>
                  <a:p>
                    <a:fld id="{AB74804F-D520-4F4A-A0FA-632845AE535D}"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8CB0-4EEB-AE12-BF3147716D55}"/>
                </c:ext>
              </c:extLst>
            </c:dLbl>
            <c:dLbl>
              <c:idx val="3"/>
              <c:layout>
                <c:manualLayout>
                  <c:x val="-7.519804705262906E-3"/>
                  <c:y val="1.4457876205343227E-2"/>
                </c:manualLayout>
              </c:layout>
              <c:tx>
                <c:rich>
                  <a:bodyPr/>
                  <a:lstStyle/>
                  <a:p>
                    <a:fld id="{40183E29-CFD4-4569-97F3-3D2157C0AF08}"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CB0-4EEB-AE12-BF3147716D55}"/>
                </c:ext>
              </c:extLst>
            </c:dLbl>
            <c:dLbl>
              <c:idx val="4"/>
              <c:layout>
                <c:manualLayout>
                  <c:x val="-7.2714863970761379E-2"/>
                  <c:y val="2.7391964016898598E-2"/>
                </c:manualLayout>
              </c:layout>
              <c:tx>
                <c:rich>
                  <a:bodyPr/>
                  <a:lstStyle/>
                  <a:p>
                    <a:fld id="{B067B3A3-F7CE-4312-AC5E-D1E751F58880}"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8CB0-4EEB-AE12-BF3147716D55}"/>
                </c:ext>
              </c:extLst>
            </c:dLbl>
            <c:dLbl>
              <c:idx val="5"/>
              <c:layout>
                <c:manualLayout>
                  <c:x val="-1.208996095803749E-2"/>
                  <c:y val="-2.8993118698510741E-2"/>
                </c:manualLayout>
              </c:layout>
              <c:tx>
                <c:rich>
                  <a:bodyPr/>
                  <a:lstStyle/>
                  <a:p>
                    <a:fld id="{4A0939A2-861C-4A4F-9B5B-C4C4BE5CBD05}"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8CB0-4EEB-AE12-BF3147716D55}"/>
                </c:ext>
              </c:extLst>
            </c:dLbl>
            <c:dLbl>
              <c:idx val="6"/>
              <c:tx>
                <c:rich>
                  <a:bodyPr/>
                  <a:lstStyle/>
                  <a:p>
                    <a:fld id="{470C00F0-1E3F-43D4-9957-D82C94EB41FE}"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8CB0-4EEB-AE12-BF3147716D55}"/>
                </c:ext>
              </c:extLst>
            </c:dLbl>
            <c:dLbl>
              <c:idx val="7"/>
              <c:tx>
                <c:rich>
                  <a:bodyPr/>
                  <a:lstStyle/>
                  <a:p>
                    <a:fld id="{7AC572F4-F418-42AB-86B1-9AB9BB91863B}"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8CB0-4EEB-AE12-BF3147716D55}"/>
                </c:ext>
              </c:extLst>
            </c:dLbl>
            <c:dLbl>
              <c:idx val="8"/>
              <c:layout>
                <c:manualLayout>
                  <c:x val="-5.8829296989901039E-2"/>
                  <c:y val="-3.3791465925369371E-2"/>
                </c:manualLayout>
              </c:layout>
              <c:tx>
                <c:rich>
                  <a:bodyPr/>
                  <a:lstStyle/>
                  <a:p>
                    <a:fld id="{7B68BA7E-7AAA-4560-88E7-3BC3FF652564}"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8CB0-4EEB-AE12-BF3147716D5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trendline>
            <c:spPr>
              <a:ln w="57150" cap="rnd">
                <a:solidFill>
                  <a:schemeClr val="accent1"/>
                </a:solidFill>
                <a:prstDash val="sysDot"/>
              </a:ln>
              <a:effectLst/>
            </c:spPr>
            <c:trendlineType val="exp"/>
            <c:dispRSqr val="1"/>
            <c:dispEq val="0"/>
            <c:trendlineLbl>
              <c:layout>
                <c:manualLayout>
                  <c:x val="3.8578302712160978E-3"/>
                  <c:y val="-0.38929279673374162"/>
                </c:manualLayout>
              </c:layout>
              <c:numFmt formatCode="General" sourceLinked="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trendlineLbl>
          </c:trendline>
          <c:xVal>
            <c:numRef>
              <c:f>'Baulandreserven - Bundesländer'!$H$38:$H$46</c:f>
              <c:numCache>
                <c:formatCode>#\ ##0.0</c:formatCode>
                <c:ptCount val="9"/>
                <c:pt idx="0">
                  <c:v>7.153628723638044</c:v>
                </c:pt>
                <c:pt idx="1">
                  <c:v>68.357534693098216</c:v>
                </c:pt>
                <c:pt idx="2">
                  <c:v>41.964181874452343</c:v>
                </c:pt>
                <c:pt idx="3">
                  <c:v>47.072306704582275</c:v>
                </c:pt>
                <c:pt idx="4">
                  <c:v>37.921954191523646</c:v>
                </c:pt>
                <c:pt idx="5">
                  <c:v>65.329342054459914</c:v>
                </c:pt>
                <c:pt idx="6">
                  <c:v>77.850039267117864</c:v>
                </c:pt>
                <c:pt idx="7">
                  <c:v>116.92593369526493</c:v>
                </c:pt>
                <c:pt idx="8">
                  <c:v>53.749855638672628</c:v>
                </c:pt>
              </c:numCache>
            </c:numRef>
          </c:xVal>
          <c:yVal>
            <c:numRef>
              <c:f>'Baulandreserven - Bundesländer'!$J$38:$J$46</c:f>
              <c:numCache>
                <c:formatCode>#\ ##0.0</c:formatCode>
                <c:ptCount val="9"/>
                <c:pt idx="0">
                  <c:v>1531.3</c:v>
                </c:pt>
                <c:pt idx="1">
                  <c:v>187.5</c:v>
                </c:pt>
                <c:pt idx="2">
                  <c:v>444</c:v>
                </c:pt>
                <c:pt idx="3">
                  <c:v>616.4</c:v>
                </c:pt>
                <c:pt idx="4">
                  <c:v>326.10000000000002</c:v>
                </c:pt>
                <c:pt idx="5">
                  <c:v>256</c:v>
                </c:pt>
                <c:pt idx="6">
                  <c:v>133.30000000000001</c:v>
                </c:pt>
                <c:pt idx="7">
                  <c:v>160.19999999999999</c:v>
                </c:pt>
                <c:pt idx="8">
                  <c:v>324.7</c:v>
                </c:pt>
              </c:numCache>
            </c:numRef>
          </c:yVal>
          <c:smooth val="0"/>
          <c:extLst>
            <c:ext xmlns:c15="http://schemas.microsoft.com/office/drawing/2012/chart" uri="{02D57815-91ED-43cb-92C2-25804820EDAC}">
              <c15:datalabelsRange>
                <c15:f>'Baulandreserven - Bundesländer'!$E$38:$E$46</c15:f>
                <c15:dlblRangeCache>
                  <c:ptCount val="9"/>
                  <c:pt idx="0">
                    <c:v>Innsbruck</c:v>
                  </c:pt>
                  <c:pt idx="1">
                    <c:v>Imst</c:v>
                  </c:pt>
                  <c:pt idx="2">
                    <c:v>Innsbruck-L.</c:v>
                  </c:pt>
                  <c:pt idx="3">
                    <c:v>Kitzbühel</c:v>
                  </c:pt>
                  <c:pt idx="4">
                    <c:v>Kufstein</c:v>
                  </c:pt>
                  <c:pt idx="5">
                    <c:v>Landeck</c:v>
                  </c:pt>
                  <c:pt idx="6">
                    <c:v>Lienz</c:v>
                  </c:pt>
                  <c:pt idx="7">
                    <c:v>Reutte</c:v>
                  </c:pt>
                  <c:pt idx="8">
                    <c:v>Schwaz</c:v>
                  </c:pt>
                </c15:dlblRangeCache>
              </c15:datalabelsRange>
            </c:ext>
            <c:ext xmlns:c16="http://schemas.microsoft.com/office/drawing/2014/chart" uri="{C3380CC4-5D6E-409C-BE32-E72D297353CC}">
              <c16:uniqueId val="{0000000A-8CB0-4EEB-AE12-BF3147716D55}"/>
            </c:ext>
          </c:extLst>
        </c:ser>
        <c:dLbls>
          <c:showLegendKey val="0"/>
          <c:showVal val="0"/>
          <c:showCatName val="0"/>
          <c:showSerName val="0"/>
          <c:showPercent val="0"/>
          <c:showBubbleSize val="0"/>
        </c:dLbls>
        <c:axId val="1419867208"/>
        <c:axId val="1419863272"/>
      </c:scatterChart>
      <c:valAx>
        <c:axId val="141986720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r>
                  <a:rPr lang="de-AT" dirty="0"/>
                  <a:t>Baulandreserven in</a:t>
                </a:r>
                <a:r>
                  <a:rPr lang="de-AT" baseline="0" dirty="0"/>
                  <a:t> Quadratmetern je </a:t>
                </a:r>
                <a:r>
                  <a:rPr lang="de-AT" dirty="0"/>
                  <a:t>Einwohner (2020)</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419863272"/>
        <c:crosses val="autoZero"/>
        <c:crossBetween val="midCat"/>
      </c:valAx>
      <c:valAx>
        <c:axId val="1419863272"/>
        <c:scaling>
          <c:orientation val="minMax"/>
          <c:max val="16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r>
                  <a:rPr lang="de-AT" dirty="0"/>
                  <a:t>Preise Baugrund (2021, EUR/m2)</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41986720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Amalia" panose="020B0504020203020204" pitchFamily="34" charset="0"/>
                <a:ea typeface="+mn-ea"/>
                <a:cs typeface="+mn-cs"/>
              </a:defRPr>
            </a:pPr>
            <a:r>
              <a:rPr lang="de-AT" sz="1800" dirty="0"/>
              <a:t>Bevölkerungswachstum: 2022-2030 (ø % p.a.)*</a:t>
            </a:r>
            <a:endParaRPr lang="en-US" sz="1800" dirty="0"/>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manualLayout>
          <c:layoutTarget val="inner"/>
          <c:xMode val="edge"/>
          <c:yMode val="edge"/>
          <c:x val="6.6452578746971275E-2"/>
          <c:y val="4.2690380149126024E-2"/>
          <c:w val="0.90936950501903768"/>
          <c:h val="0.65946858574746359"/>
        </c:manualLayout>
      </c:layout>
      <c:barChart>
        <c:barDir val="col"/>
        <c:grouping val="clustered"/>
        <c:varyColors val="0"/>
        <c:ser>
          <c:idx val="0"/>
          <c:order val="0"/>
          <c:tx>
            <c:strRef>
              <c:f>'[Demografie AT Bundesländer Bezirke.xlsx]Bevölkerung_prozentual'!$AC$92</c:f>
              <c:strCache>
                <c:ptCount val="1"/>
                <c:pt idx="0">
                  <c:v>2022-2030 (ø % p.a.)</c:v>
                </c:pt>
              </c:strCache>
            </c:strRef>
          </c:tx>
          <c:spPr>
            <a:solidFill>
              <a:schemeClr val="accent1"/>
            </a:solidFill>
            <a:ln>
              <a:noFill/>
            </a:ln>
            <a:effectLst/>
          </c:spPr>
          <c:invertIfNegative val="0"/>
          <c:cat>
            <c:strRef>
              <c:f>[1]Bevölkerung_prozentual!$AB$93:$AB$101</c:f>
              <c:strCache>
                <c:ptCount val="9"/>
                <c:pt idx="0">
                  <c:v>Innsbruck-L.</c:v>
                </c:pt>
                <c:pt idx="1">
                  <c:v>Kufstein</c:v>
                </c:pt>
                <c:pt idx="2">
                  <c:v>Schwaz</c:v>
                </c:pt>
                <c:pt idx="3">
                  <c:v>Imst</c:v>
                </c:pt>
                <c:pt idx="4">
                  <c:v>Innsbruck</c:v>
                </c:pt>
                <c:pt idx="5">
                  <c:v>Kitzbühel</c:v>
                </c:pt>
                <c:pt idx="6">
                  <c:v>Reutte</c:v>
                </c:pt>
                <c:pt idx="7">
                  <c:v>Landeck</c:v>
                </c:pt>
                <c:pt idx="8">
                  <c:v>Lienz</c:v>
                </c:pt>
              </c:strCache>
            </c:strRef>
          </c:cat>
          <c:val>
            <c:numRef>
              <c:f>[1]Bevölkerung_prozentual!$AC$93:$AC$101</c:f>
              <c:numCache>
                <c:formatCode>0.0</c:formatCode>
                <c:ptCount val="9"/>
                <c:pt idx="0">
                  <c:v>0.66078375902074993</c:v>
                </c:pt>
                <c:pt idx="1">
                  <c:v>0.59393779270834057</c:v>
                </c:pt>
                <c:pt idx="2">
                  <c:v>0.42457526902512088</c:v>
                </c:pt>
                <c:pt idx="3">
                  <c:v>0.4181605908574304</c:v>
                </c:pt>
                <c:pt idx="4">
                  <c:v>0.25569113410606192</c:v>
                </c:pt>
                <c:pt idx="5">
                  <c:v>0.19269456988743328</c:v>
                </c:pt>
                <c:pt idx="6">
                  <c:v>0.13598309340419334</c:v>
                </c:pt>
                <c:pt idx="7">
                  <c:v>-4.356387564837666E-2</c:v>
                </c:pt>
                <c:pt idx="8">
                  <c:v>-0.20377805484084466</c:v>
                </c:pt>
              </c:numCache>
            </c:numRef>
          </c:val>
          <c:extLst>
            <c:ext xmlns:c16="http://schemas.microsoft.com/office/drawing/2014/chart" uri="{C3380CC4-5D6E-409C-BE32-E72D297353CC}">
              <c16:uniqueId val="{00000000-15BF-475D-979E-2888A6CA943F}"/>
            </c:ext>
          </c:extLst>
        </c:ser>
        <c:dLbls>
          <c:showLegendKey val="0"/>
          <c:showVal val="0"/>
          <c:showCatName val="0"/>
          <c:showSerName val="0"/>
          <c:showPercent val="0"/>
          <c:showBubbleSize val="0"/>
        </c:dLbls>
        <c:gapWidth val="219"/>
        <c:overlap val="-27"/>
        <c:axId val="1399581664"/>
        <c:axId val="1399583304"/>
      </c:barChart>
      <c:catAx>
        <c:axId val="13995816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6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99583304"/>
        <c:crosses val="autoZero"/>
        <c:auto val="1"/>
        <c:lblAlgn val="ctr"/>
        <c:lblOffset val="100"/>
        <c:noMultiLvlLbl val="0"/>
      </c:catAx>
      <c:valAx>
        <c:axId val="139958330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9958166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rgbClr val="696969"/>
                </a:solidFill>
                <a:latin typeface="Amalia" panose="020B0504020203020204" pitchFamily="34" charset="0"/>
                <a:ea typeface="+mn-ea"/>
                <a:cs typeface="+mn-cs"/>
              </a:defRPr>
            </a:pPr>
            <a:r>
              <a:rPr lang="en-GB" sz="2000"/>
              <a:t>Einkaufsmanagerindex - Industrie</a:t>
            </a:r>
          </a:p>
        </c:rich>
      </c:tx>
      <c:overlay val="1"/>
      <c:spPr>
        <a:noFill/>
        <a:ln>
          <a:noFill/>
        </a:ln>
        <a:effectLst/>
      </c:spPr>
      <c:txPr>
        <a:bodyPr rot="0" spcFirstLastPara="1" vertOverflow="ellipsis" vert="horz" wrap="square" anchor="ctr" anchorCtr="1"/>
        <a:lstStyle/>
        <a:p>
          <a:pPr>
            <a:defRPr sz="2000" b="0" i="0" u="none" strike="noStrike" kern="1200" spc="0" baseline="0">
              <a:solidFill>
                <a:srgbClr val="696969"/>
              </a:solidFill>
              <a:latin typeface="Amalia" panose="020B0504020203020204" pitchFamily="34" charset="0"/>
              <a:ea typeface="+mn-ea"/>
              <a:cs typeface="+mn-cs"/>
            </a:defRPr>
          </a:pPr>
          <a:endParaRPr lang="de-DE"/>
        </a:p>
      </c:txPr>
    </c:title>
    <c:autoTitleDeleted val="0"/>
    <c:plotArea>
      <c:layout>
        <c:manualLayout>
          <c:layoutTarget val="inner"/>
          <c:xMode val="edge"/>
          <c:yMode val="edge"/>
          <c:x val="4.1604916239905136E-2"/>
          <c:y val="8.1391148221856877E-2"/>
          <c:w val="0.94683717437327708"/>
          <c:h val="0.7569438435580168"/>
        </c:manualLayout>
      </c:layout>
      <c:lineChart>
        <c:grouping val="standard"/>
        <c:varyColors val="0"/>
        <c:ser>
          <c:idx val="0"/>
          <c:order val="0"/>
          <c:tx>
            <c:strRef>
              <c:f>Tabelle1!$Z$5</c:f>
              <c:strCache>
                <c:ptCount val="1"/>
                <c:pt idx="0">
                  <c:v>US</c:v>
                </c:pt>
              </c:strCache>
            </c:strRef>
          </c:tx>
          <c:spPr>
            <a:ln w="28575" cap="rnd">
              <a:solidFill>
                <a:schemeClr val="accent1"/>
              </a:solidFill>
              <a:round/>
            </a:ln>
            <a:effectLst/>
          </c:spPr>
          <c:marker>
            <c:symbol val="none"/>
          </c:marker>
          <c:cat>
            <c:numRef>
              <c:f>Tabelle1!$D$9:$D$500</c:f>
              <c:numCache>
                <c:formatCode>m/d/yyyy</c:formatCode>
                <c:ptCount val="492"/>
                <c:pt idx="0">
                  <c:v>36540</c:v>
                </c:pt>
                <c:pt idx="1">
                  <c:v>36571</c:v>
                </c:pt>
                <c:pt idx="2">
                  <c:v>36600</c:v>
                </c:pt>
                <c:pt idx="3">
                  <c:v>36631</c:v>
                </c:pt>
                <c:pt idx="4">
                  <c:v>36661</c:v>
                </c:pt>
                <c:pt idx="5">
                  <c:v>36692</c:v>
                </c:pt>
                <c:pt idx="6">
                  <c:v>36722</c:v>
                </c:pt>
                <c:pt idx="7">
                  <c:v>36753</c:v>
                </c:pt>
                <c:pt idx="8">
                  <c:v>36784</c:v>
                </c:pt>
                <c:pt idx="9">
                  <c:v>36814</c:v>
                </c:pt>
                <c:pt idx="10">
                  <c:v>36845</c:v>
                </c:pt>
                <c:pt idx="11">
                  <c:v>36875</c:v>
                </c:pt>
                <c:pt idx="12">
                  <c:v>36906</c:v>
                </c:pt>
                <c:pt idx="13">
                  <c:v>36937</c:v>
                </c:pt>
                <c:pt idx="14">
                  <c:v>36965</c:v>
                </c:pt>
                <c:pt idx="15">
                  <c:v>36996</c:v>
                </c:pt>
                <c:pt idx="16">
                  <c:v>37026</c:v>
                </c:pt>
                <c:pt idx="17">
                  <c:v>37057</c:v>
                </c:pt>
                <c:pt idx="18">
                  <c:v>37087</c:v>
                </c:pt>
                <c:pt idx="19">
                  <c:v>37118</c:v>
                </c:pt>
                <c:pt idx="20">
                  <c:v>37149</c:v>
                </c:pt>
                <c:pt idx="21">
                  <c:v>37179</c:v>
                </c:pt>
                <c:pt idx="22">
                  <c:v>37210</c:v>
                </c:pt>
                <c:pt idx="23">
                  <c:v>37240</c:v>
                </c:pt>
                <c:pt idx="24">
                  <c:v>37271</c:v>
                </c:pt>
                <c:pt idx="25">
                  <c:v>37302</c:v>
                </c:pt>
                <c:pt idx="26">
                  <c:v>37330</c:v>
                </c:pt>
                <c:pt idx="27">
                  <c:v>37361</c:v>
                </c:pt>
                <c:pt idx="28">
                  <c:v>37391</c:v>
                </c:pt>
                <c:pt idx="29">
                  <c:v>37422</c:v>
                </c:pt>
                <c:pt idx="30">
                  <c:v>37452</c:v>
                </c:pt>
                <c:pt idx="31">
                  <c:v>37483</c:v>
                </c:pt>
                <c:pt idx="32">
                  <c:v>37514</c:v>
                </c:pt>
                <c:pt idx="33">
                  <c:v>37544</c:v>
                </c:pt>
                <c:pt idx="34">
                  <c:v>37575</c:v>
                </c:pt>
                <c:pt idx="35">
                  <c:v>37605</c:v>
                </c:pt>
                <c:pt idx="36">
                  <c:v>37636</c:v>
                </c:pt>
                <c:pt idx="37">
                  <c:v>37667</c:v>
                </c:pt>
                <c:pt idx="38">
                  <c:v>37695</c:v>
                </c:pt>
                <c:pt idx="39">
                  <c:v>37726</c:v>
                </c:pt>
                <c:pt idx="40">
                  <c:v>37756</c:v>
                </c:pt>
                <c:pt idx="41">
                  <c:v>37787</c:v>
                </c:pt>
                <c:pt idx="42">
                  <c:v>37817</c:v>
                </c:pt>
                <c:pt idx="43">
                  <c:v>37848</c:v>
                </c:pt>
                <c:pt idx="44">
                  <c:v>37879</c:v>
                </c:pt>
                <c:pt idx="45">
                  <c:v>37909</c:v>
                </c:pt>
                <c:pt idx="46">
                  <c:v>37940</c:v>
                </c:pt>
                <c:pt idx="47">
                  <c:v>37970</c:v>
                </c:pt>
                <c:pt idx="48">
                  <c:v>38001</c:v>
                </c:pt>
                <c:pt idx="49">
                  <c:v>38032</c:v>
                </c:pt>
                <c:pt idx="50">
                  <c:v>38061</c:v>
                </c:pt>
                <c:pt idx="51">
                  <c:v>38092</c:v>
                </c:pt>
                <c:pt idx="52">
                  <c:v>38122</c:v>
                </c:pt>
                <c:pt idx="53">
                  <c:v>38153</c:v>
                </c:pt>
                <c:pt idx="54">
                  <c:v>38183</c:v>
                </c:pt>
                <c:pt idx="55">
                  <c:v>38214</c:v>
                </c:pt>
                <c:pt idx="56">
                  <c:v>38245</c:v>
                </c:pt>
                <c:pt idx="57">
                  <c:v>38275</c:v>
                </c:pt>
                <c:pt idx="58">
                  <c:v>38306</c:v>
                </c:pt>
                <c:pt idx="59">
                  <c:v>38336</c:v>
                </c:pt>
                <c:pt idx="60">
                  <c:v>38367</c:v>
                </c:pt>
                <c:pt idx="61">
                  <c:v>38398</c:v>
                </c:pt>
                <c:pt idx="62">
                  <c:v>38426</c:v>
                </c:pt>
                <c:pt idx="63">
                  <c:v>38457</c:v>
                </c:pt>
                <c:pt idx="64">
                  <c:v>38487</c:v>
                </c:pt>
                <c:pt idx="65">
                  <c:v>38518</c:v>
                </c:pt>
                <c:pt idx="66">
                  <c:v>38548</c:v>
                </c:pt>
                <c:pt idx="67">
                  <c:v>38579</c:v>
                </c:pt>
                <c:pt idx="68">
                  <c:v>38610</c:v>
                </c:pt>
                <c:pt idx="69">
                  <c:v>38640</c:v>
                </c:pt>
                <c:pt idx="70">
                  <c:v>38671</c:v>
                </c:pt>
                <c:pt idx="71">
                  <c:v>38701</c:v>
                </c:pt>
                <c:pt idx="72">
                  <c:v>38732</c:v>
                </c:pt>
                <c:pt idx="73">
                  <c:v>38763</c:v>
                </c:pt>
                <c:pt idx="74">
                  <c:v>38791</c:v>
                </c:pt>
                <c:pt idx="75">
                  <c:v>38822</c:v>
                </c:pt>
                <c:pt idx="76">
                  <c:v>38852</c:v>
                </c:pt>
                <c:pt idx="77">
                  <c:v>38883</c:v>
                </c:pt>
                <c:pt idx="78">
                  <c:v>38913</c:v>
                </c:pt>
                <c:pt idx="79">
                  <c:v>38944</c:v>
                </c:pt>
                <c:pt idx="80">
                  <c:v>38975</c:v>
                </c:pt>
                <c:pt idx="81">
                  <c:v>39005</c:v>
                </c:pt>
                <c:pt idx="82">
                  <c:v>39036</c:v>
                </c:pt>
                <c:pt idx="83">
                  <c:v>39066</c:v>
                </c:pt>
                <c:pt idx="84">
                  <c:v>39097</c:v>
                </c:pt>
                <c:pt idx="85">
                  <c:v>39128</c:v>
                </c:pt>
                <c:pt idx="86">
                  <c:v>39156</c:v>
                </c:pt>
                <c:pt idx="87">
                  <c:v>39187</c:v>
                </c:pt>
                <c:pt idx="88">
                  <c:v>39217</c:v>
                </c:pt>
                <c:pt idx="89">
                  <c:v>39248</c:v>
                </c:pt>
                <c:pt idx="90">
                  <c:v>39278</c:v>
                </c:pt>
                <c:pt idx="91">
                  <c:v>39309</c:v>
                </c:pt>
                <c:pt idx="92">
                  <c:v>39340</c:v>
                </c:pt>
                <c:pt idx="93">
                  <c:v>39370</c:v>
                </c:pt>
                <c:pt idx="94">
                  <c:v>39401</c:v>
                </c:pt>
                <c:pt idx="95">
                  <c:v>39431</c:v>
                </c:pt>
                <c:pt idx="96">
                  <c:v>39462</c:v>
                </c:pt>
                <c:pt idx="97">
                  <c:v>39493</c:v>
                </c:pt>
                <c:pt idx="98">
                  <c:v>39522</c:v>
                </c:pt>
                <c:pt idx="99">
                  <c:v>39553</c:v>
                </c:pt>
                <c:pt idx="100">
                  <c:v>39583</c:v>
                </c:pt>
                <c:pt idx="101">
                  <c:v>39614</c:v>
                </c:pt>
                <c:pt idx="102">
                  <c:v>39644</c:v>
                </c:pt>
                <c:pt idx="103">
                  <c:v>39675</c:v>
                </c:pt>
                <c:pt idx="104">
                  <c:v>39706</c:v>
                </c:pt>
                <c:pt idx="105">
                  <c:v>39736</c:v>
                </c:pt>
                <c:pt idx="106">
                  <c:v>39767</c:v>
                </c:pt>
                <c:pt idx="107">
                  <c:v>39797</c:v>
                </c:pt>
                <c:pt idx="108">
                  <c:v>39828</c:v>
                </c:pt>
                <c:pt idx="109">
                  <c:v>39859</c:v>
                </c:pt>
                <c:pt idx="110">
                  <c:v>39887</c:v>
                </c:pt>
                <c:pt idx="111">
                  <c:v>39918</c:v>
                </c:pt>
                <c:pt idx="112">
                  <c:v>39948</c:v>
                </c:pt>
                <c:pt idx="113">
                  <c:v>39979</c:v>
                </c:pt>
                <c:pt idx="114">
                  <c:v>40009</c:v>
                </c:pt>
                <c:pt idx="115">
                  <c:v>40040</c:v>
                </c:pt>
                <c:pt idx="116">
                  <c:v>40071</c:v>
                </c:pt>
                <c:pt idx="117">
                  <c:v>40101</c:v>
                </c:pt>
                <c:pt idx="118">
                  <c:v>40132</c:v>
                </c:pt>
                <c:pt idx="119">
                  <c:v>40162</c:v>
                </c:pt>
                <c:pt idx="120">
                  <c:v>40193</c:v>
                </c:pt>
                <c:pt idx="121">
                  <c:v>40224</c:v>
                </c:pt>
                <c:pt idx="122">
                  <c:v>40252</c:v>
                </c:pt>
                <c:pt idx="123">
                  <c:v>40283</c:v>
                </c:pt>
                <c:pt idx="124">
                  <c:v>40313</c:v>
                </c:pt>
                <c:pt idx="125">
                  <c:v>40344</c:v>
                </c:pt>
                <c:pt idx="126">
                  <c:v>40374</c:v>
                </c:pt>
                <c:pt idx="127">
                  <c:v>40405</c:v>
                </c:pt>
                <c:pt idx="128">
                  <c:v>40436</c:v>
                </c:pt>
                <c:pt idx="129">
                  <c:v>40466</c:v>
                </c:pt>
                <c:pt idx="130">
                  <c:v>40497</c:v>
                </c:pt>
                <c:pt idx="131">
                  <c:v>40527</c:v>
                </c:pt>
                <c:pt idx="132">
                  <c:v>40558</c:v>
                </c:pt>
                <c:pt idx="133">
                  <c:v>40589</c:v>
                </c:pt>
                <c:pt idx="134">
                  <c:v>40617</c:v>
                </c:pt>
                <c:pt idx="135">
                  <c:v>40648</c:v>
                </c:pt>
                <c:pt idx="136">
                  <c:v>40678</c:v>
                </c:pt>
                <c:pt idx="137">
                  <c:v>40709</c:v>
                </c:pt>
                <c:pt idx="138">
                  <c:v>40739</c:v>
                </c:pt>
                <c:pt idx="139">
                  <c:v>40770</c:v>
                </c:pt>
                <c:pt idx="140">
                  <c:v>40801</c:v>
                </c:pt>
                <c:pt idx="141">
                  <c:v>40831</c:v>
                </c:pt>
                <c:pt idx="142">
                  <c:v>40862</c:v>
                </c:pt>
                <c:pt idx="143">
                  <c:v>40892</c:v>
                </c:pt>
                <c:pt idx="144">
                  <c:v>40923</c:v>
                </c:pt>
                <c:pt idx="145">
                  <c:v>40954</c:v>
                </c:pt>
                <c:pt idx="146">
                  <c:v>40983</c:v>
                </c:pt>
                <c:pt idx="147">
                  <c:v>41014</c:v>
                </c:pt>
                <c:pt idx="148">
                  <c:v>41044</c:v>
                </c:pt>
                <c:pt idx="149">
                  <c:v>41075</c:v>
                </c:pt>
                <c:pt idx="150">
                  <c:v>41105</c:v>
                </c:pt>
                <c:pt idx="151">
                  <c:v>41136</c:v>
                </c:pt>
                <c:pt idx="152">
                  <c:v>41167</c:v>
                </c:pt>
                <c:pt idx="153">
                  <c:v>41197</c:v>
                </c:pt>
                <c:pt idx="154">
                  <c:v>41228</c:v>
                </c:pt>
                <c:pt idx="155">
                  <c:v>41258</c:v>
                </c:pt>
                <c:pt idx="156">
                  <c:v>41289</c:v>
                </c:pt>
                <c:pt idx="157">
                  <c:v>41320</c:v>
                </c:pt>
                <c:pt idx="158">
                  <c:v>41348</c:v>
                </c:pt>
                <c:pt idx="159">
                  <c:v>41379</c:v>
                </c:pt>
                <c:pt idx="160">
                  <c:v>41409</c:v>
                </c:pt>
                <c:pt idx="161">
                  <c:v>41440</c:v>
                </c:pt>
                <c:pt idx="162">
                  <c:v>41470</c:v>
                </c:pt>
                <c:pt idx="163">
                  <c:v>41501</c:v>
                </c:pt>
                <c:pt idx="164">
                  <c:v>41532</c:v>
                </c:pt>
                <c:pt idx="165">
                  <c:v>41562</c:v>
                </c:pt>
                <c:pt idx="166">
                  <c:v>41593</c:v>
                </c:pt>
                <c:pt idx="167">
                  <c:v>41623</c:v>
                </c:pt>
                <c:pt idx="168">
                  <c:v>41654</c:v>
                </c:pt>
                <c:pt idx="169">
                  <c:v>41685</c:v>
                </c:pt>
                <c:pt idx="170">
                  <c:v>41713</c:v>
                </c:pt>
                <c:pt idx="171">
                  <c:v>41744</c:v>
                </c:pt>
                <c:pt idx="172">
                  <c:v>41774</c:v>
                </c:pt>
                <c:pt idx="173">
                  <c:v>41805</c:v>
                </c:pt>
                <c:pt idx="174">
                  <c:v>41835</c:v>
                </c:pt>
                <c:pt idx="175">
                  <c:v>41866</c:v>
                </c:pt>
                <c:pt idx="176">
                  <c:v>41897</c:v>
                </c:pt>
                <c:pt idx="177">
                  <c:v>41927</c:v>
                </c:pt>
                <c:pt idx="178">
                  <c:v>41958</c:v>
                </c:pt>
                <c:pt idx="179">
                  <c:v>41988</c:v>
                </c:pt>
                <c:pt idx="180">
                  <c:v>42019</c:v>
                </c:pt>
                <c:pt idx="181">
                  <c:v>42050</c:v>
                </c:pt>
                <c:pt idx="182">
                  <c:v>42078</c:v>
                </c:pt>
                <c:pt idx="183">
                  <c:v>42109</c:v>
                </c:pt>
                <c:pt idx="184">
                  <c:v>42139</c:v>
                </c:pt>
                <c:pt idx="185">
                  <c:v>42170</c:v>
                </c:pt>
                <c:pt idx="186">
                  <c:v>42200</c:v>
                </c:pt>
                <c:pt idx="187">
                  <c:v>42231</c:v>
                </c:pt>
                <c:pt idx="188">
                  <c:v>42262</c:v>
                </c:pt>
                <c:pt idx="189">
                  <c:v>42292</c:v>
                </c:pt>
                <c:pt idx="190">
                  <c:v>42323</c:v>
                </c:pt>
                <c:pt idx="191">
                  <c:v>42353</c:v>
                </c:pt>
                <c:pt idx="192">
                  <c:v>42384</c:v>
                </c:pt>
                <c:pt idx="193">
                  <c:v>42415</c:v>
                </c:pt>
                <c:pt idx="194">
                  <c:v>42444</c:v>
                </c:pt>
                <c:pt idx="195">
                  <c:v>42475</c:v>
                </c:pt>
                <c:pt idx="196">
                  <c:v>42505</c:v>
                </c:pt>
                <c:pt idx="197">
                  <c:v>42536</c:v>
                </c:pt>
                <c:pt idx="198">
                  <c:v>42566</c:v>
                </c:pt>
                <c:pt idx="199">
                  <c:v>42597</c:v>
                </c:pt>
                <c:pt idx="200">
                  <c:v>42628</c:v>
                </c:pt>
                <c:pt idx="201">
                  <c:v>42658</c:v>
                </c:pt>
                <c:pt idx="202">
                  <c:v>42689</c:v>
                </c:pt>
                <c:pt idx="203">
                  <c:v>42719</c:v>
                </c:pt>
                <c:pt idx="204">
                  <c:v>42750</c:v>
                </c:pt>
                <c:pt idx="205">
                  <c:v>42781</c:v>
                </c:pt>
                <c:pt idx="206">
                  <c:v>42809</c:v>
                </c:pt>
                <c:pt idx="207">
                  <c:v>42840</c:v>
                </c:pt>
                <c:pt idx="208">
                  <c:v>42870</c:v>
                </c:pt>
                <c:pt idx="209">
                  <c:v>42901</c:v>
                </c:pt>
                <c:pt idx="210">
                  <c:v>42931</c:v>
                </c:pt>
                <c:pt idx="211">
                  <c:v>42962</c:v>
                </c:pt>
                <c:pt idx="212">
                  <c:v>42993</c:v>
                </c:pt>
                <c:pt idx="213">
                  <c:v>43023</c:v>
                </c:pt>
                <c:pt idx="214">
                  <c:v>43054</c:v>
                </c:pt>
                <c:pt idx="215">
                  <c:v>43084</c:v>
                </c:pt>
                <c:pt idx="216">
                  <c:v>43115</c:v>
                </c:pt>
                <c:pt idx="217">
                  <c:v>43146</c:v>
                </c:pt>
                <c:pt idx="218">
                  <c:v>43174</c:v>
                </c:pt>
                <c:pt idx="219">
                  <c:v>43205</c:v>
                </c:pt>
                <c:pt idx="220">
                  <c:v>43235</c:v>
                </c:pt>
                <c:pt idx="221">
                  <c:v>43266</c:v>
                </c:pt>
                <c:pt idx="222">
                  <c:v>43296</c:v>
                </c:pt>
                <c:pt idx="223">
                  <c:v>43327</c:v>
                </c:pt>
                <c:pt idx="224">
                  <c:v>43358</c:v>
                </c:pt>
                <c:pt idx="225">
                  <c:v>43388</c:v>
                </c:pt>
                <c:pt idx="226">
                  <c:v>43419</c:v>
                </c:pt>
                <c:pt idx="227">
                  <c:v>43449</c:v>
                </c:pt>
                <c:pt idx="228">
                  <c:v>43480</c:v>
                </c:pt>
                <c:pt idx="229">
                  <c:v>43511</c:v>
                </c:pt>
                <c:pt idx="230">
                  <c:v>43539</c:v>
                </c:pt>
                <c:pt idx="231">
                  <c:v>43570</c:v>
                </c:pt>
                <c:pt idx="232">
                  <c:v>43600</c:v>
                </c:pt>
                <c:pt idx="233">
                  <c:v>43631</c:v>
                </c:pt>
                <c:pt idx="234">
                  <c:v>43661</c:v>
                </c:pt>
                <c:pt idx="235">
                  <c:v>43692</c:v>
                </c:pt>
                <c:pt idx="236">
                  <c:v>43723</c:v>
                </c:pt>
                <c:pt idx="237">
                  <c:v>43753</c:v>
                </c:pt>
                <c:pt idx="238">
                  <c:v>43784</c:v>
                </c:pt>
                <c:pt idx="239">
                  <c:v>43814</c:v>
                </c:pt>
                <c:pt idx="240">
                  <c:v>43845</c:v>
                </c:pt>
                <c:pt idx="241">
                  <c:v>43876</c:v>
                </c:pt>
                <c:pt idx="242">
                  <c:v>43905</c:v>
                </c:pt>
                <c:pt idx="243">
                  <c:v>43936</c:v>
                </c:pt>
                <c:pt idx="244">
                  <c:v>43966</c:v>
                </c:pt>
                <c:pt idx="245">
                  <c:v>43997</c:v>
                </c:pt>
                <c:pt idx="246">
                  <c:v>44027</c:v>
                </c:pt>
                <c:pt idx="247">
                  <c:v>44058</c:v>
                </c:pt>
                <c:pt idx="248">
                  <c:v>44089</c:v>
                </c:pt>
                <c:pt idx="249">
                  <c:v>44119</c:v>
                </c:pt>
                <c:pt idx="250">
                  <c:v>44150</c:v>
                </c:pt>
                <c:pt idx="251">
                  <c:v>44180</c:v>
                </c:pt>
                <c:pt idx="252">
                  <c:v>44211</c:v>
                </c:pt>
                <c:pt idx="253">
                  <c:v>44242</c:v>
                </c:pt>
                <c:pt idx="254">
                  <c:v>44270</c:v>
                </c:pt>
                <c:pt idx="255">
                  <c:v>44301</c:v>
                </c:pt>
                <c:pt idx="256">
                  <c:v>44331</c:v>
                </c:pt>
                <c:pt idx="257">
                  <c:v>44362</c:v>
                </c:pt>
                <c:pt idx="258">
                  <c:v>44392</c:v>
                </c:pt>
                <c:pt idx="259">
                  <c:v>44423</c:v>
                </c:pt>
                <c:pt idx="260">
                  <c:v>44454</c:v>
                </c:pt>
                <c:pt idx="261">
                  <c:v>44484</c:v>
                </c:pt>
                <c:pt idx="262">
                  <c:v>44515</c:v>
                </c:pt>
                <c:pt idx="263">
                  <c:v>44545</c:v>
                </c:pt>
                <c:pt idx="264">
                  <c:v>44576</c:v>
                </c:pt>
                <c:pt idx="265">
                  <c:v>44607</c:v>
                </c:pt>
                <c:pt idx="266">
                  <c:v>44635</c:v>
                </c:pt>
                <c:pt idx="267">
                  <c:v>44666</c:v>
                </c:pt>
                <c:pt idx="268">
                  <c:v>44696</c:v>
                </c:pt>
                <c:pt idx="269">
                  <c:v>44727</c:v>
                </c:pt>
                <c:pt idx="270">
                  <c:v>44757</c:v>
                </c:pt>
                <c:pt idx="271">
                  <c:v>44788</c:v>
                </c:pt>
                <c:pt idx="272">
                  <c:v>44819</c:v>
                </c:pt>
                <c:pt idx="273">
                  <c:v>44849</c:v>
                </c:pt>
                <c:pt idx="274">
                  <c:v>44880</c:v>
                </c:pt>
                <c:pt idx="275">
                  <c:v>44910</c:v>
                </c:pt>
                <c:pt idx="276">
                  <c:v>44941</c:v>
                </c:pt>
                <c:pt idx="277">
                  <c:v>44972</c:v>
                </c:pt>
              </c:numCache>
            </c:numRef>
          </c:cat>
          <c:val>
            <c:numRef>
              <c:f>Tabelle1!$Z$9:$Z$500</c:f>
              <c:numCache>
                <c:formatCode>General</c:formatCode>
                <c:ptCount val="49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57.2</c:v>
                </c:pt>
                <c:pt idx="89">
                  <c:v>53.5</c:v>
                </c:pt>
                <c:pt idx="90">
                  <c:v>53.4</c:v>
                </c:pt>
                <c:pt idx="91">
                  <c:v>54.1</c:v>
                </c:pt>
                <c:pt idx="92">
                  <c:v>54.9</c:v>
                </c:pt>
                <c:pt idx="93">
                  <c:v>53.9</c:v>
                </c:pt>
                <c:pt idx="94">
                  <c:v>54.5</c:v>
                </c:pt>
                <c:pt idx="95">
                  <c:v>53.6</c:v>
                </c:pt>
                <c:pt idx="96">
                  <c:v>55.3</c:v>
                </c:pt>
                <c:pt idx="97">
                  <c:v>55.5</c:v>
                </c:pt>
                <c:pt idx="98">
                  <c:v>52.9</c:v>
                </c:pt>
                <c:pt idx="99">
                  <c:v>52.3</c:v>
                </c:pt>
                <c:pt idx="100">
                  <c:v>49.9</c:v>
                </c:pt>
                <c:pt idx="101">
                  <c:v>48.7</c:v>
                </c:pt>
                <c:pt idx="102">
                  <c:v>49.7</c:v>
                </c:pt>
                <c:pt idx="103">
                  <c:v>48.2</c:v>
                </c:pt>
                <c:pt idx="104">
                  <c:v>43.8</c:v>
                </c:pt>
                <c:pt idx="105">
                  <c:v>42.5</c:v>
                </c:pt>
                <c:pt idx="106">
                  <c:v>34.200000000000003</c:v>
                </c:pt>
                <c:pt idx="107">
                  <c:v>34.9</c:v>
                </c:pt>
                <c:pt idx="108">
                  <c:v>31.5</c:v>
                </c:pt>
                <c:pt idx="109">
                  <c:v>34</c:v>
                </c:pt>
                <c:pt idx="110">
                  <c:v>35.200000000000003</c:v>
                </c:pt>
                <c:pt idx="111">
                  <c:v>37.4</c:v>
                </c:pt>
                <c:pt idx="112">
                  <c:v>41</c:v>
                </c:pt>
                <c:pt idx="113">
                  <c:v>44.5</c:v>
                </c:pt>
                <c:pt idx="114">
                  <c:v>47</c:v>
                </c:pt>
                <c:pt idx="115">
                  <c:v>45.8</c:v>
                </c:pt>
                <c:pt idx="116">
                  <c:v>49.4</c:v>
                </c:pt>
                <c:pt idx="117">
                  <c:v>53</c:v>
                </c:pt>
                <c:pt idx="118">
                  <c:v>54.8</c:v>
                </c:pt>
                <c:pt idx="119">
                  <c:v>55.1</c:v>
                </c:pt>
                <c:pt idx="120">
                  <c:v>54.3</c:v>
                </c:pt>
                <c:pt idx="121">
                  <c:v>55.7</c:v>
                </c:pt>
                <c:pt idx="122">
                  <c:v>56.5</c:v>
                </c:pt>
                <c:pt idx="123">
                  <c:v>59</c:v>
                </c:pt>
                <c:pt idx="124">
                  <c:v>57.7</c:v>
                </c:pt>
                <c:pt idx="125">
                  <c:v>54.3</c:v>
                </c:pt>
                <c:pt idx="126">
                  <c:v>55.1</c:v>
                </c:pt>
                <c:pt idx="127">
                  <c:v>53.5</c:v>
                </c:pt>
                <c:pt idx="128">
                  <c:v>54</c:v>
                </c:pt>
                <c:pt idx="129">
                  <c:v>53.6</c:v>
                </c:pt>
                <c:pt idx="130">
                  <c:v>52.5</c:v>
                </c:pt>
                <c:pt idx="131">
                  <c:v>51.5</c:v>
                </c:pt>
                <c:pt idx="132">
                  <c:v>53.4</c:v>
                </c:pt>
                <c:pt idx="133">
                  <c:v>56.5</c:v>
                </c:pt>
                <c:pt idx="134">
                  <c:v>56.5</c:v>
                </c:pt>
                <c:pt idx="135">
                  <c:v>55.6</c:v>
                </c:pt>
                <c:pt idx="136">
                  <c:v>54.7</c:v>
                </c:pt>
                <c:pt idx="137">
                  <c:v>53.4</c:v>
                </c:pt>
                <c:pt idx="138">
                  <c:v>52.6</c:v>
                </c:pt>
                <c:pt idx="139">
                  <c:v>53.9</c:v>
                </c:pt>
                <c:pt idx="140">
                  <c:v>53.7</c:v>
                </c:pt>
                <c:pt idx="141">
                  <c:v>53.6</c:v>
                </c:pt>
                <c:pt idx="142">
                  <c:v>53.4</c:v>
                </c:pt>
                <c:pt idx="143">
                  <c:v>53.9</c:v>
                </c:pt>
                <c:pt idx="144">
                  <c:v>54.3</c:v>
                </c:pt>
                <c:pt idx="145">
                  <c:v>53.6</c:v>
                </c:pt>
                <c:pt idx="146">
                  <c:v>56</c:v>
                </c:pt>
                <c:pt idx="147">
                  <c:v>56</c:v>
                </c:pt>
                <c:pt idx="148">
                  <c:v>54</c:v>
                </c:pt>
                <c:pt idx="149">
                  <c:v>52.5</c:v>
                </c:pt>
                <c:pt idx="150">
                  <c:v>51.4</c:v>
                </c:pt>
                <c:pt idx="151">
                  <c:v>51.5</c:v>
                </c:pt>
                <c:pt idx="152">
                  <c:v>51.1</c:v>
                </c:pt>
                <c:pt idx="153">
                  <c:v>51</c:v>
                </c:pt>
                <c:pt idx="154">
                  <c:v>52.8</c:v>
                </c:pt>
                <c:pt idx="155">
                  <c:v>54</c:v>
                </c:pt>
                <c:pt idx="156">
                  <c:v>55.8</c:v>
                </c:pt>
                <c:pt idx="157">
                  <c:v>54.3</c:v>
                </c:pt>
                <c:pt idx="158">
                  <c:v>54.6</c:v>
                </c:pt>
                <c:pt idx="159">
                  <c:v>52.1</c:v>
                </c:pt>
                <c:pt idx="160">
                  <c:v>52.3</c:v>
                </c:pt>
                <c:pt idx="161">
                  <c:v>51.9</c:v>
                </c:pt>
                <c:pt idx="162">
                  <c:v>53.7</c:v>
                </c:pt>
                <c:pt idx="163">
                  <c:v>53.1</c:v>
                </c:pt>
                <c:pt idx="164">
                  <c:v>52.8</c:v>
                </c:pt>
                <c:pt idx="165">
                  <c:v>51.8</c:v>
                </c:pt>
                <c:pt idx="166">
                  <c:v>54.7</c:v>
                </c:pt>
                <c:pt idx="167">
                  <c:v>55</c:v>
                </c:pt>
                <c:pt idx="168">
                  <c:v>53.7</c:v>
                </c:pt>
                <c:pt idx="169">
                  <c:v>57.1</c:v>
                </c:pt>
                <c:pt idx="170">
                  <c:v>55.5</c:v>
                </c:pt>
                <c:pt idx="171">
                  <c:v>55.4</c:v>
                </c:pt>
                <c:pt idx="172">
                  <c:v>56.4</c:v>
                </c:pt>
                <c:pt idx="173">
                  <c:v>57.3</c:v>
                </c:pt>
                <c:pt idx="174">
                  <c:v>55.8</c:v>
                </c:pt>
                <c:pt idx="175">
                  <c:v>57.9</c:v>
                </c:pt>
                <c:pt idx="176">
                  <c:v>57.5</c:v>
                </c:pt>
                <c:pt idx="177">
                  <c:v>55.9</c:v>
                </c:pt>
                <c:pt idx="178">
                  <c:v>54.8</c:v>
                </c:pt>
                <c:pt idx="179">
                  <c:v>53.9</c:v>
                </c:pt>
                <c:pt idx="180">
                  <c:v>53.9</c:v>
                </c:pt>
                <c:pt idx="181">
                  <c:v>55.1</c:v>
                </c:pt>
                <c:pt idx="182">
                  <c:v>55.7</c:v>
                </c:pt>
                <c:pt idx="183">
                  <c:v>54.1</c:v>
                </c:pt>
                <c:pt idx="184">
                  <c:v>54</c:v>
                </c:pt>
                <c:pt idx="185">
                  <c:v>53.6</c:v>
                </c:pt>
                <c:pt idx="186">
                  <c:v>53.8</c:v>
                </c:pt>
                <c:pt idx="187">
                  <c:v>53</c:v>
                </c:pt>
                <c:pt idx="188">
                  <c:v>53.1</c:v>
                </c:pt>
                <c:pt idx="189">
                  <c:v>54.1</c:v>
                </c:pt>
                <c:pt idx="190">
                  <c:v>52.8</c:v>
                </c:pt>
                <c:pt idx="191">
                  <c:v>51.2</c:v>
                </c:pt>
                <c:pt idx="192">
                  <c:v>52.4</c:v>
                </c:pt>
                <c:pt idx="193">
                  <c:v>51.3</c:v>
                </c:pt>
                <c:pt idx="194">
                  <c:v>51.5</c:v>
                </c:pt>
                <c:pt idx="195">
                  <c:v>50.8</c:v>
                </c:pt>
                <c:pt idx="196">
                  <c:v>50.7</c:v>
                </c:pt>
                <c:pt idx="197">
                  <c:v>51.3</c:v>
                </c:pt>
                <c:pt idx="198">
                  <c:v>52.9</c:v>
                </c:pt>
                <c:pt idx="199">
                  <c:v>52</c:v>
                </c:pt>
                <c:pt idx="200">
                  <c:v>51.5</c:v>
                </c:pt>
                <c:pt idx="201">
                  <c:v>53.4</c:v>
                </c:pt>
                <c:pt idx="202">
                  <c:v>54.1</c:v>
                </c:pt>
                <c:pt idx="203">
                  <c:v>54.3</c:v>
                </c:pt>
                <c:pt idx="204">
                  <c:v>55</c:v>
                </c:pt>
                <c:pt idx="205">
                  <c:v>54.2</c:v>
                </c:pt>
                <c:pt idx="206">
                  <c:v>53.3</c:v>
                </c:pt>
                <c:pt idx="207">
                  <c:v>52.8</c:v>
                </c:pt>
                <c:pt idx="208">
                  <c:v>52.7</c:v>
                </c:pt>
                <c:pt idx="209">
                  <c:v>52</c:v>
                </c:pt>
                <c:pt idx="210">
                  <c:v>53.3</c:v>
                </c:pt>
                <c:pt idx="211">
                  <c:v>52.8</c:v>
                </c:pt>
                <c:pt idx="212">
                  <c:v>53.1</c:v>
                </c:pt>
                <c:pt idx="213">
                  <c:v>54.6</c:v>
                </c:pt>
                <c:pt idx="214">
                  <c:v>53.9</c:v>
                </c:pt>
                <c:pt idx="215">
                  <c:v>55.1</c:v>
                </c:pt>
                <c:pt idx="216">
                  <c:v>55.5</c:v>
                </c:pt>
                <c:pt idx="217">
                  <c:v>55.3</c:v>
                </c:pt>
                <c:pt idx="218">
                  <c:v>55.6</c:v>
                </c:pt>
                <c:pt idx="219">
                  <c:v>56.5</c:v>
                </c:pt>
                <c:pt idx="220">
                  <c:v>56.4</c:v>
                </c:pt>
                <c:pt idx="221">
                  <c:v>55.4</c:v>
                </c:pt>
                <c:pt idx="222">
                  <c:v>55.3</c:v>
                </c:pt>
                <c:pt idx="223">
                  <c:v>54.7</c:v>
                </c:pt>
                <c:pt idx="224">
                  <c:v>55.6</c:v>
                </c:pt>
                <c:pt idx="225">
                  <c:v>55.7</c:v>
                </c:pt>
                <c:pt idx="226">
                  <c:v>55.3</c:v>
                </c:pt>
                <c:pt idx="227">
                  <c:v>53.8</c:v>
                </c:pt>
                <c:pt idx="228">
                  <c:v>54.9</c:v>
                </c:pt>
                <c:pt idx="229">
                  <c:v>53</c:v>
                </c:pt>
                <c:pt idx="230">
                  <c:v>52.4</c:v>
                </c:pt>
                <c:pt idx="231">
                  <c:v>52.6</c:v>
                </c:pt>
                <c:pt idx="232">
                  <c:v>50.5</c:v>
                </c:pt>
                <c:pt idx="233">
                  <c:v>50.6</c:v>
                </c:pt>
                <c:pt idx="234">
                  <c:v>50.4</c:v>
                </c:pt>
                <c:pt idx="235">
                  <c:v>50.3</c:v>
                </c:pt>
                <c:pt idx="236">
                  <c:v>51.1</c:v>
                </c:pt>
                <c:pt idx="237">
                  <c:v>51.3</c:v>
                </c:pt>
                <c:pt idx="238">
                  <c:v>52.6</c:v>
                </c:pt>
                <c:pt idx="239">
                  <c:v>52.4</c:v>
                </c:pt>
                <c:pt idx="240">
                  <c:v>51.9</c:v>
                </c:pt>
                <c:pt idx="241">
                  <c:v>50.7</c:v>
                </c:pt>
                <c:pt idx="242">
                  <c:v>48.5</c:v>
                </c:pt>
                <c:pt idx="243">
                  <c:v>36.1</c:v>
                </c:pt>
                <c:pt idx="244">
                  <c:v>39.799999999999997</c:v>
                </c:pt>
                <c:pt idx="245">
                  <c:v>49.8</c:v>
                </c:pt>
                <c:pt idx="246">
                  <c:v>50.9</c:v>
                </c:pt>
                <c:pt idx="247">
                  <c:v>53.1</c:v>
                </c:pt>
                <c:pt idx="248">
                  <c:v>53.2</c:v>
                </c:pt>
                <c:pt idx="249">
                  <c:v>53.4</c:v>
                </c:pt>
                <c:pt idx="250">
                  <c:v>56.7</c:v>
                </c:pt>
                <c:pt idx="251">
                  <c:v>57.1</c:v>
                </c:pt>
                <c:pt idx="252">
                  <c:v>59.2</c:v>
                </c:pt>
                <c:pt idx="253">
                  <c:v>58.6</c:v>
                </c:pt>
                <c:pt idx="254">
                  <c:v>59.1</c:v>
                </c:pt>
                <c:pt idx="255">
                  <c:v>60.5</c:v>
                </c:pt>
                <c:pt idx="256">
                  <c:v>62.1</c:v>
                </c:pt>
                <c:pt idx="257">
                  <c:v>62.1</c:v>
                </c:pt>
                <c:pt idx="258">
                  <c:v>63.4</c:v>
                </c:pt>
                <c:pt idx="259">
                  <c:v>61.1</c:v>
                </c:pt>
                <c:pt idx="260">
                  <c:v>60.7</c:v>
                </c:pt>
                <c:pt idx="261">
                  <c:v>58.4</c:v>
                </c:pt>
                <c:pt idx="262">
                  <c:v>58.3</c:v>
                </c:pt>
                <c:pt idx="263">
                  <c:v>57.7</c:v>
                </c:pt>
                <c:pt idx="264">
                  <c:v>55.5</c:v>
                </c:pt>
                <c:pt idx="265">
                  <c:v>57.3</c:v>
                </c:pt>
                <c:pt idx="266">
                  <c:v>58.8</c:v>
                </c:pt>
                <c:pt idx="267">
                  <c:v>59.2</c:v>
                </c:pt>
                <c:pt idx="268">
                  <c:v>57</c:v>
                </c:pt>
                <c:pt idx="269">
                  <c:v>52.7</c:v>
                </c:pt>
                <c:pt idx="270">
                  <c:v>52.2</c:v>
                </c:pt>
                <c:pt idx="271">
                  <c:v>51.5</c:v>
                </c:pt>
                <c:pt idx="272">
                  <c:v>52</c:v>
                </c:pt>
                <c:pt idx="273">
                  <c:v>50.4</c:v>
                </c:pt>
                <c:pt idx="274">
                  <c:v>47.7</c:v>
                </c:pt>
                <c:pt idx="275">
                  <c:v>46.2</c:v>
                </c:pt>
                <c:pt idx="276">
                  <c:v>#N/A</c:v>
                </c:pt>
                <c:pt idx="277">
                  <c:v>#N/A</c:v>
                </c:pt>
              </c:numCache>
            </c:numRef>
          </c:val>
          <c:smooth val="0"/>
          <c:extLst>
            <c:ext xmlns:c16="http://schemas.microsoft.com/office/drawing/2014/chart" uri="{C3380CC4-5D6E-409C-BE32-E72D297353CC}">
              <c16:uniqueId val="{00000000-DC6A-48CE-80B7-E776B228A50B}"/>
            </c:ext>
          </c:extLst>
        </c:ser>
        <c:ser>
          <c:idx val="1"/>
          <c:order val="1"/>
          <c:tx>
            <c:strRef>
              <c:f>Tabelle1!$E$5</c:f>
              <c:strCache>
                <c:ptCount val="1"/>
                <c:pt idx="0">
                  <c:v>EA</c:v>
                </c:pt>
              </c:strCache>
            </c:strRef>
          </c:tx>
          <c:spPr>
            <a:ln w="28575" cap="rnd">
              <a:solidFill>
                <a:schemeClr val="accent2"/>
              </a:solidFill>
              <a:round/>
            </a:ln>
            <a:effectLst/>
          </c:spPr>
          <c:marker>
            <c:symbol val="none"/>
          </c:marker>
          <c:cat>
            <c:numRef>
              <c:f>Tabelle1!$D$9:$D$500</c:f>
              <c:numCache>
                <c:formatCode>m/d/yyyy</c:formatCode>
                <c:ptCount val="492"/>
                <c:pt idx="0">
                  <c:v>36540</c:v>
                </c:pt>
                <c:pt idx="1">
                  <c:v>36571</c:v>
                </c:pt>
                <c:pt idx="2">
                  <c:v>36600</c:v>
                </c:pt>
                <c:pt idx="3">
                  <c:v>36631</c:v>
                </c:pt>
                <c:pt idx="4">
                  <c:v>36661</c:v>
                </c:pt>
                <c:pt idx="5">
                  <c:v>36692</c:v>
                </c:pt>
                <c:pt idx="6">
                  <c:v>36722</c:v>
                </c:pt>
                <c:pt idx="7">
                  <c:v>36753</c:v>
                </c:pt>
                <c:pt idx="8">
                  <c:v>36784</c:v>
                </c:pt>
                <c:pt idx="9">
                  <c:v>36814</c:v>
                </c:pt>
                <c:pt idx="10">
                  <c:v>36845</c:v>
                </c:pt>
                <c:pt idx="11">
                  <c:v>36875</c:v>
                </c:pt>
                <c:pt idx="12">
                  <c:v>36906</c:v>
                </c:pt>
                <c:pt idx="13">
                  <c:v>36937</c:v>
                </c:pt>
                <c:pt idx="14">
                  <c:v>36965</c:v>
                </c:pt>
                <c:pt idx="15">
                  <c:v>36996</c:v>
                </c:pt>
                <c:pt idx="16">
                  <c:v>37026</c:v>
                </c:pt>
                <c:pt idx="17">
                  <c:v>37057</c:v>
                </c:pt>
                <c:pt idx="18">
                  <c:v>37087</c:v>
                </c:pt>
                <c:pt idx="19">
                  <c:v>37118</c:v>
                </c:pt>
                <c:pt idx="20">
                  <c:v>37149</c:v>
                </c:pt>
                <c:pt idx="21">
                  <c:v>37179</c:v>
                </c:pt>
                <c:pt idx="22">
                  <c:v>37210</c:v>
                </c:pt>
                <c:pt idx="23">
                  <c:v>37240</c:v>
                </c:pt>
                <c:pt idx="24">
                  <c:v>37271</c:v>
                </c:pt>
                <c:pt idx="25">
                  <c:v>37302</c:v>
                </c:pt>
                <c:pt idx="26">
                  <c:v>37330</c:v>
                </c:pt>
                <c:pt idx="27">
                  <c:v>37361</c:v>
                </c:pt>
                <c:pt idx="28">
                  <c:v>37391</c:v>
                </c:pt>
                <c:pt idx="29">
                  <c:v>37422</c:v>
                </c:pt>
                <c:pt idx="30">
                  <c:v>37452</c:v>
                </c:pt>
                <c:pt idx="31">
                  <c:v>37483</c:v>
                </c:pt>
                <c:pt idx="32">
                  <c:v>37514</c:v>
                </c:pt>
                <c:pt idx="33">
                  <c:v>37544</c:v>
                </c:pt>
                <c:pt idx="34">
                  <c:v>37575</c:v>
                </c:pt>
                <c:pt idx="35">
                  <c:v>37605</c:v>
                </c:pt>
                <c:pt idx="36">
                  <c:v>37636</c:v>
                </c:pt>
                <c:pt idx="37">
                  <c:v>37667</c:v>
                </c:pt>
                <c:pt idx="38">
                  <c:v>37695</c:v>
                </c:pt>
                <c:pt idx="39">
                  <c:v>37726</c:v>
                </c:pt>
                <c:pt idx="40">
                  <c:v>37756</c:v>
                </c:pt>
                <c:pt idx="41">
                  <c:v>37787</c:v>
                </c:pt>
                <c:pt idx="42">
                  <c:v>37817</c:v>
                </c:pt>
                <c:pt idx="43">
                  <c:v>37848</c:v>
                </c:pt>
                <c:pt idx="44">
                  <c:v>37879</c:v>
                </c:pt>
                <c:pt idx="45">
                  <c:v>37909</c:v>
                </c:pt>
                <c:pt idx="46">
                  <c:v>37940</c:v>
                </c:pt>
                <c:pt idx="47">
                  <c:v>37970</c:v>
                </c:pt>
                <c:pt idx="48">
                  <c:v>38001</c:v>
                </c:pt>
                <c:pt idx="49">
                  <c:v>38032</c:v>
                </c:pt>
                <c:pt idx="50">
                  <c:v>38061</c:v>
                </c:pt>
                <c:pt idx="51">
                  <c:v>38092</c:v>
                </c:pt>
                <c:pt idx="52">
                  <c:v>38122</c:v>
                </c:pt>
                <c:pt idx="53">
                  <c:v>38153</c:v>
                </c:pt>
                <c:pt idx="54">
                  <c:v>38183</c:v>
                </c:pt>
                <c:pt idx="55">
                  <c:v>38214</c:v>
                </c:pt>
                <c:pt idx="56">
                  <c:v>38245</c:v>
                </c:pt>
                <c:pt idx="57">
                  <c:v>38275</c:v>
                </c:pt>
                <c:pt idx="58">
                  <c:v>38306</c:v>
                </c:pt>
                <c:pt idx="59">
                  <c:v>38336</c:v>
                </c:pt>
                <c:pt idx="60">
                  <c:v>38367</c:v>
                </c:pt>
                <c:pt idx="61">
                  <c:v>38398</c:v>
                </c:pt>
                <c:pt idx="62">
                  <c:v>38426</c:v>
                </c:pt>
                <c:pt idx="63">
                  <c:v>38457</c:v>
                </c:pt>
                <c:pt idx="64">
                  <c:v>38487</c:v>
                </c:pt>
                <c:pt idx="65">
                  <c:v>38518</c:v>
                </c:pt>
                <c:pt idx="66">
                  <c:v>38548</c:v>
                </c:pt>
                <c:pt idx="67">
                  <c:v>38579</c:v>
                </c:pt>
                <c:pt idx="68">
                  <c:v>38610</c:v>
                </c:pt>
                <c:pt idx="69">
                  <c:v>38640</c:v>
                </c:pt>
                <c:pt idx="70">
                  <c:v>38671</c:v>
                </c:pt>
                <c:pt idx="71">
                  <c:v>38701</c:v>
                </c:pt>
                <c:pt idx="72">
                  <c:v>38732</c:v>
                </c:pt>
                <c:pt idx="73">
                  <c:v>38763</c:v>
                </c:pt>
                <c:pt idx="74">
                  <c:v>38791</c:v>
                </c:pt>
                <c:pt idx="75">
                  <c:v>38822</c:v>
                </c:pt>
                <c:pt idx="76">
                  <c:v>38852</c:v>
                </c:pt>
                <c:pt idx="77">
                  <c:v>38883</c:v>
                </c:pt>
                <c:pt idx="78">
                  <c:v>38913</c:v>
                </c:pt>
                <c:pt idx="79">
                  <c:v>38944</c:v>
                </c:pt>
                <c:pt idx="80">
                  <c:v>38975</c:v>
                </c:pt>
                <c:pt idx="81">
                  <c:v>39005</c:v>
                </c:pt>
                <c:pt idx="82">
                  <c:v>39036</c:v>
                </c:pt>
                <c:pt idx="83">
                  <c:v>39066</c:v>
                </c:pt>
                <c:pt idx="84">
                  <c:v>39097</c:v>
                </c:pt>
                <c:pt idx="85">
                  <c:v>39128</c:v>
                </c:pt>
                <c:pt idx="86">
                  <c:v>39156</c:v>
                </c:pt>
                <c:pt idx="87">
                  <c:v>39187</c:v>
                </c:pt>
                <c:pt idx="88">
                  <c:v>39217</c:v>
                </c:pt>
                <c:pt idx="89">
                  <c:v>39248</c:v>
                </c:pt>
                <c:pt idx="90">
                  <c:v>39278</c:v>
                </c:pt>
                <c:pt idx="91">
                  <c:v>39309</c:v>
                </c:pt>
                <c:pt idx="92">
                  <c:v>39340</c:v>
                </c:pt>
                <c:pt idx="93">
                  <c:v>39370</c:v>
                </c:pt>
                <c:pt idx="94">
                  <c:v>39401</c:v>
                </c:pt>
                <c:pt idx="95">
                  <c:v>39431</c:v>
                </c:pt>
                <c:pt idx="96">
                  <c:v>39462</c:v>
                </c:pt>
                <c:pt idx="97">
                  <c:v>39493</c:v>
                </c:pt>
                <c:pt idx="98">
                  <c:v>39522</c:v>
                </c:pt>
                <c:pt idx="99">
                  <c:v>39553</c:v>
                </c:pt>
                <c:pt idx="100">
                  <c:v>39583</c:v>
                </c:pt>
                <c:pt idx="101">
                  <c:v>39614</c:v>
                </c:pt>
                <c:pt idx="102">
                  <c:v>39644</c:v>
                </c:pt>
                <c:pt idx="103">
                  <c:v>39675</c:v>
                </c:pt>
                <c:pt idx="104">
                  <c:v>39706</c:v>
                </c:pt>
                <c:pt idx="105">
                  <c:v>39736</c:v>
                </c:pt>
                <c:pt idx="106">
                  <c:v>39767</c:v>
                </c:pt>
                <c:pt idx="107">
                  <c:v>39797</c:v>
                </c:pt>
                <c:pt idx="108">
                  <c:v>39828</c:v>
                </c:pt>
                <c:pt idx="109">
                  <c:v>39859</c:v>
                </c:pt>
                <c:pt idx="110">
                  <c:v>39887</c:v>
                </c:pt>
                <c:pt idx="111">
                  <c:v>39918</c:v>
                </c:pt>
                <c:pt idx="112">
                  <c:v>39948</c:v>
                </c:pt>
                <c:pt idx="113">
                  <c:v>39979</c:v>
                </c:pt>
                <c:pt idx="114">
                  <c:v>40009</c:v>
                </c:pt>
                <c:pt idx="115">
                  <c:v>40040</c:v>
                </c:pt>
                <c:pt idx="116">
                  <c:v>40071</c:v>
                </c:pt>
                <c:pt idx="117">
                  <c:v>40101</c:v>
                </c:pt>
                <c:pt idx="118">
                  <c:v>40132</c:v>
                </c:pt>
                <c:pt idx="119">
                  <c:v>40162</c:v>
                </c:pt>
                <c:pt idx="120">
                  <c:v>40193</c:v>
                </c:pt>
                <c:pt idx="121">
                  <c:v>40224</c:v>
                </c:pt>
                <c:pt idx="122">
                  <c:v>40252</c:v>
                </c:pt>
                <c:pt idx="123">
                  <c:v>40283</c:v>
                </c:pt>
                <c:pt idx="124">
                  <c:v>40313</c:v>
                </c:pt>
                <c:pt idx="125">
                  <c:v>40344</c:v>
                </c:pt>
                <c:pt idx="126">
                  <c:v>40374</c:v>
                </c:pt>
                <c:pt idx="127">
                  <c:v>40405</c:v>
                </c:pt>
                <c:pt idx="128">
                  <c:v>40436</c:v>
                </c:pt>
                <c:pt idx="129">
                  <c:v>40466</c:v>
                </c:pt>
                <c:pt idx="130">
                  <c:v>40497</c:v>
                </c:pt>
                <c:pt idx="131">
                  <c:v>40527</c:v>
                </c:pt>
                <c:pt idx="132">
                  <c:v>40558</c:v>
                </c:pt>
                <c:pt idx="133">
                  <c:v>40589</c:v>
                </c:pt>
                <c:pt idx="134">
                  <c:v>40617</c:v>
                </c:pt>
                <c:pt idx="135">
                  <c:v>40648</c:v>
                </c:pt>
                <c:pt idx="136">
                  <c:v>40678</c:v>
                </c:pt>
                <c:pt idx="137">
                  <c:v>40709</c:v>
                </c:pt>
                <c:pt idx="138">
                  <c:v>40739</c:v>
                </c:pt>
                <c:pt idx="139">
                  <c:v>40770</c:v>
                </c:pt>
                <c:pt idx="140">
                  <c:v>40801</c:v>
                </c:pt>
                <c:pt idx="141">
                  <c:v>40831</c:v>
                </c:pt>
                <c:pt idx="142">
                  <c:v>40862</c:v>
                </c:pt>
                <c:pt idx="143">
                  <c:v>40892</c:v>
                </c:pt>
                <c:pt idx="144">
                  <c:v>40923</c:v>
                </c:pt>
                <c:pt idx="145">
                  <c:v>40954</c:v>
                </c:pt>
                <c:pt idx="146">
                  <c:v>40983</c:v>
                </c:pt>
                <c:pt idx="147">
                  <c:v>41014</c:v>
                </c:pt>
                <c:pt idx="148">
                  <c:v>41044</c:v>
                </c:pt>
                <c:pt idx="149">
                  <c:v>41075</c:v>
                </c:pt>
                <c:pt idx="150">
                  <c:v>41105</c:v>
                </c:pt>
                <c:pt idx="151">
                  <c:v>41136</c:v>
                </c:pt>
                <c:pt idx="152">
                  <c:v>41167</c:v>
                </c:pt>
                <c:pt idx="153">
                  <c:v>41197</c:v>
                </c:pt>
                <c:pt idx="154">
                  <c:v>41228</c:v>
                </c:pt>
                <c:pt idx="155">
                  <c:v>41258</c:v>
                </c:pt>
                <c:pt idx="156">
                  <c:v>41289</c:v>
                </c:pt>
                <c:pt idx="157">
                  <c:v>41320</c:v>
                </c:pt>
                <c:pt idx="158">
                  <c:v>41348</c:v>
                </c:pt>
                <c:pt idx="159">
                  <c:v>41379</c:v>
                </c:pt>
                <c:pt idx="160">
                  <c:v>41409</c:v>
                </c:pt>
                <c:pt idx="161">
                  <c:v>41440</c:v>
                </c:pt>
                <c:pt idx="162">
                  <c:v>41470</c:v>
                </c:pt>
                <c:pt idx="163">
                  <c:v>41501</c:v>
                </c:pt>
                <c:pt idx="164">
                  <c:v>41532</c:v>
                </c:pt>
                <c:pt idx="165">
                  <c:v>41562</c:v>
                </c:pt>
                <c:pt idx="166">
                  <c:v>41593</c:v>
                </c:pt>
                <c:pt idx="167">
                  <c:v>41623</c:v>
                </c:pt>
                <c:pt idx="168">
                  <c:v>41654</c:v>
                </c:pt>
                <c:pt idx="169">
                  <c:v>41685</c:v>
                </c:pt>
                <c:pt idx="170">
                  <c:v>41713</c:v>
                </c:pt>
                <c:pt idx="171">
                  <c:v>41744</c:v>
                </c:pt>
                <c:pt idx="172">
                  <c:v>41774</c:v>
                </c:pt>
                <c:pt idx="173">
                  <c:v>41805</c:v>
                </c:pt>
                <c:pt idx="174">
                  <c:v>41835</c:v>
                </c:pt>
                <c:pt idx="175">
                  <c:v>41866</c:v>
                </c:pt>
                <c:pt idx="176">
                  <c:v>41897</c:v>
                </c:pt>
                <c:pt idx="177">
                  <c:v>41927</c:v>
                </c:pt>
                <c:pt idx="178">
                  <c:v>41958</c:v>
                </c:pt>
                <c:pt idx="179">
                  <c:v>41988</c:v>
                </c:pt>
                <c:pt idx="180">
                  <c:v>42019</c:v>
                </c:pt>
                <c:pt idx="181">
                  <c:v>42050</c:v>
                </c:pt>
                <c:pt idx="182">
                  <c:v>42078</c:v>
                </c:pt>
                <c:pt idx="183">
                  <c:v>42109</c:v>
                </c:pt>
                <c:pt idx="184">
                  <c:v>42139</c:v>
                </c:pt>
                <c:pt idx="185">
                  <c:v>42170</c:v>
                </c:pt>
                <c:pt idx="186">
                  <c:v>42200</c:v>
                </c:pt>
                <c:pt idx="187">
                  <c:v>42231</c:v>
                </c:pt>
                <c:pt idx="188">
                  <c:v>42262</c:v>
                </c:pt>
                <c:pt idx="189">
                  <c:v>42292</c:v>
                </c:pt>
                <c:pt idx="190">
                  <c:v>42323</c:v>
                </c:pt>
                <c:pt idx="191">
                  <c:v>42353</c:v>
                </c:pt>
                <c:pt idx="192">
                  <c:v>42384</c:v>
                </c:pt>
                <c:pt idx="193">
                  <c:v>42415</c:v>
                </c:pt>
                <c:pt idx="194">
                  <c:v>42444</c:v>
                </c:pt>
                <c:pt idx="195">
                  <c:v>42475</c:v>
                </c:pt>
                <c:pt idx="196">
                  <c:v>42505</c:v>
                </c:pt>
                <c:pt idx="197">
                  <c:v>42536</c:v>
                </c:pt>
                <c:pt idx="198">
                  <c:v>42566</c:v>
                </c:pt>
                <c:pt idx="199">
                  <c:v>42597</c:v>
                </c:pt>
                <c:pt idx="200">
                  <c:v>42628</c:v>
                </c:pt>
                <c:pt idx="201">
                  <c:v>42658</c:v>
                </c:pt>
                <c:pt idx="202">
                  <c:v>42689</c:v>
                </c:pt>
                <c:pt idx="203">
                  <c:v>42719</c:v>
                </c:pt>
                <c:pt idx="204">
                  <c:v>42750</c:v>
                </c:pt>
                <c:pt idx="205">
                  <c:v>42781</c:v>
                </c:pt>
                <c:pt idx="206">
                  <c:v>42809</c:v>
                </c:pt>
                <c:pt idx="207">
                  <c:v>42840</c:v>
                </c:pt>
                <c:pt idx="208">
                  <c:v>42870</c:v>
                </c:pt>
                <c:pt idx="209">
                  <c:v>42901</c:v>
                </c:pt>
                <c:pt idx="210">
                  <c:v>42931</c:v>
                </c:pt>
                <c:pt idx="211">
                  <c:v>42962</c:v>
                </c:pt>
                <c:pt idx="212">
                  <c:v>42993</c:v>
                </c:pt>
                <c:pt idx="213">
                  <c:v>43023</c:v>
                </c:pt>
                <c:pt idx="214">
                  <c:v>43054</c:v>
                </c:pt>
                <c:pt idx="215">
                  <c:v>43084</c:v>
                </c:pt>
                <c:pt idx="216">
                  <c:v>43115</c:v>
                </c:pt>
                <c:pt idx="217">
                  <c:v>43146</c:v>
                </c:pt>
                <c:pt idx="218">
                  <c:v>43174</c:v>
                </c:pt>
                <c:pt idx="219">
                  <c:v>43205</c:v>
                </c:pt>
                <c:pt idx="220">
                  <c:v>43235</c:v>
                </c:pt>
                <c:pt idx="221">
                  <c:v>43266</c:v>
                </c:pt>
                <c:pt idx="222">
                  <c:v>43296</c:v>
                </c:pt>
                <c:pt idx="223">
                  <c:v>43327</c:v>
                </c:pt>
                <c:pt idx="224">
                  <c:v>43358</c:v>
                </c:pt>
                <c:pt idx="225">
                  <c:v>43388</c:v>
                </c:pt>
                <c:pt idx="226">
                  <c:v>43419</c:v>
                </c:pt>
                <c:pt idx="227">
                  <c:v>43449</c:v>
                </c:pt>
                <c:pt idx="228">
                  <c:v>43480</c:v>
                </c:pt>
                <c:pt idx="229">
                  <c:v>43511</c:v>
                </c:pt>
                <c:pt idx="230">
                  <c:v>43539</c:v>
                </c:pt>
                <c:pt idx="231">
                  <c:v>43570</c:v>
                </c:pt>
                <c:pt idx="232">
                  <c:v>43600</c:v>
                </c:pt>
                <c:pt idx="233">
                  <c:v>43631</c:v>
                </c:pt>
                <c:pt idx="234">
                  <c:v>43661</c:v>
                </c:pt>
                <c:pt idx="235">
                  <c:v>43692</c:v>
                </c:pt>
                <c:pt idx="236">
                  <c:v>43723</c:v>
                </c:pt>
                <c:pt idx="237">
                  <c:v>43753</c:v>
                </c:pt>
                <c:pt idx="238">
                  <c:v>43784</c:v>
                </c:pt>
                <c:pt idx="239">
                  <c:v>43814</c:v>
                </c:pt>
                <c:pt idx="240">
                  <c:v>43845</c:v>
                </c:pt>
                <c:pt idx="241">
                  <c:v>43876</c:v>
                </c:pt>
                <c:pt idx="242">
                  <c:v>43905</c:v>
                </c:pt>
                <c:pt idx="243">
                  <c:v>43936</c:v>
                </c:pt>
                <c:pt idx="244">
                  <c:v>43966</c:v>
                </c:pt>
                <c:pt idx="245">
                  <c:v>43997</c:v>
                </c:pt>
                <c:pt idx="246">
                  <c:v>44027</c:v>
                </c:pt>
                <c:pt idx="247">
                  <c:v>44058</c:v>
                </c:pt>
                <c:pt idx="248">
                  <c:v>44089</c:v>
                </c:pt>
                <c:pt idx="249">
                  <c:v>44119</c:v>
                </c:pt>
                <c:pt idx="250">
                  <c:v>44150</c:v>
                </c:pt>
                <c:pt idx="251">
                  <c:v>44180</c:v>
                </c:pt>
                <c:pt idx="252">
                  <c:v>44211</c:v>
                </c:pt>
                <c:pt idx="253">
                  <c:v>44242</c:v>
                </c:pt>
                <c:pt idx="254">
                  <c:v>44270</c:v>
                </c:pt>
                <c:pt idx="255">
                  <c:v>44301</c:v>
                </c:pt>
                <c:pt idx="256">
                  <c:v>44331</c:v>
                </c:pt>
                <c:pt idx="257">
                  <c:v>44362</c:v>
                </c:pt>
                <c:pt idx="258">
                  <c:v>44392</c:v>
                </c:pt>
                <c:pt idx="259">
                  <c:v>44423</c:v>
                </c:pt>
                <c:pt idx="260">
                  <c:v>44454</c:v>
                </c:pt>
                <c:pt idx="261">
                  <c:v>44484</c:v>
                </c:pt>
                <c:pt idx="262">
                  <c:v>44515</c:v>
                </c:pt>
                <c:pt idx="263">
                  <c:v>44545</c:v>
                </c:pt>
                <c:pt idx="264">
                  <c:v>44576</c:v>
                </c:pt>
                <c:pt idx="265">
                  <c:v>44607</c:v>
                </c:pt>
                <c:pt idx="266">
                  <c:v>44635</c:v>
                </c:pt>
                <c:pt idx="267">
                  <c:v>44666</c:v>
                </c:pt>
                <c:pt idx="268">
                  <c:v>44696</c:v>
                </c:pt>
                <c:pt idx="269">
                  <c:v>44727</c:v>
                </c:pt>
                <c:pt idx="270">
                  <c:v>44757</c:v>
                </c:pt>
                <c:pt idx="271">
                  <c:v>44788</c:v>
                </c:pt>
                <c:pt idx="272">
                  <c:v>44819</c:v>
                </c:pt>
                <c:pt idx="273">
                  <c:v>44849</c:v>
                </c:pt>
                <c:pt idx="274">
                  <c:v>44880</c:v>
                </c:pt>
                <c:pt idx="275">
                  <c:v>44910</c:v>
                </c:pt>
                <c:pt idx="276">
                  <c:v>44941</c:v>
                </c:pt>
                <c:pt idx="277">
                  <c:v>44972</c:v>
                </c:pt>
              </c:numCache>
            </c:numRef>
          </c:cat>
          <c:val>
            <c:numRef>
              <c:f>Tabelle1!$E$9:$E$500</c:f>
              <c:numCache>
                <c:formatCode>General</c:formatCode>
                <c:ptCount val="492"/>
                <c:pt idx="0">
                  <c:v>55.7</c:v>
                </c:pt>
                <c:pt idx="1">
                  <c:v>57.1</c:v>
                </c:pt>
                <c:pt idx="2">
                  <c:v>59.1</c:v>
                </c:pt>
                <c:pt idx="3">
                  <c:v>60.5</c:v>
                </c:pt>
                <c:pt idx="4">
                  <c:v>59.7</c:v>
                </c:pt>
                <c:pt idx="5">
                  <c:v>59.4</c:v>
                </c:pt>
                <c:pt idx="6">
                  <c:v>58.8</c:v>
                </c:pt>
                <c:pt idx="7">
                  <c:v>58.2</c:v>
                </c:pt>
                <c:pt idx="8">
                  <c:v>56.9</c:v>
                </c:pt>
                <c:pt idx="9">
                  <c:v>55.5</c:v>
                </c:pt>
                <c:pt idx="10">
                  <c:v>54.6</c:v>
                </c:pt>
                <c:pt idx="11">
                  <c:v>53.5</c:v>
                </c:pt>
                <c:pt idx="12">
                  <c:v>52.9</c:v>
                </c:pt>
                <c:pt idx="13">
                  <c:v>52.3</c:v>
                </c:pt>
                <c:pt idx="14">
                  <c:v>51.2</c:v>
                </c:pt>
                <c:pt idx="15">
                  <c:v>49.2</c:v>
                </c:pt>
                <c:pt idx="16">
                  <c:v>48.5</c:v>
                </c:pt>
                <c:pt idx="17">
                  <c:v>47.8</c:v>
                </c:pt>
                <c:pt idx="18">
                  <c:v>47.3</c:v>
                </c:pt>
                <c:pt idx="19">
                  <c:v>47.5</c:v>
                </c:pt>
                <c:pt idx="20">
                  <c:v>45.9</c:v>
                </c:pt>
                <c:pt idx="21">
                  <c:v>42.9</c:v>
                </c:pt>
                <c:pt idx="22">
                  <c:v>43.6</c:v>
                </c:pt>
                <c:pt idx="23">
                  <c:v>44.1</c:v>
                </c:pt>
                <c:pt idx="24">
                  <c:v>46.3</c:v>
                </c:pt>
                <c:pt idx="25">
                  <c:v>48.6</c:v>
                </c:pt>
                <c:pt idx="26">
                  <c:v>50</c:v>
                </c:pt>
                <c:pt idx="27">
                  <c:v>50.7</c:v>
                </c:pt>
                <c:pt idx="28">
                  <c:v>51.7</c:v>
                </c:pt>
                <c:pt idx="29">
                  <c:v>51.8</c:v>
                </c:pt>
                <c:pt idx="30">
                  <c:v>51.6</c:v>
                </c:pt>
                <c:pt idx="31">
                  <c:v>50.8</c:v>
                </c:pt>
                <c:pt idx="32">
                  <c:v>48.9</c:v>
                </c:pt>
                <c:pt idx="33">
                  <c:v>49.2</c:v>
                </c:pt>
                <c:pt idx="34">
                  <c:v>49.4</c:v>
                </c:pt>
                <c:pt idx="35">
                  <c:v>48.4</c:v>
                </c:pt>
                <c:pt idx="36">
                  <c:v>49.3</c:v>
                </c:pt>
                <c:pt idx="37">
                  <c:v>50.1</c:v>
                </c:pt>
                <c:pt idx="38">
                  <c:v>48.4</c:v>
                </c:pt>
                <c:pt idx="39">
                  <c:v>47.8</c:v>
                </c:pt>
                <c:pt idx="40">
                  <c:v>46.9</c:v>
                </c:pt>
                <c:pt idx="41">
                  <c:v>46.7</c:v>
                </c:pt>
                <c:pt idx="42">
                  <c:v>48</c:v>
                </c:pt>
                <c:pt idx="43">
                  <c:v>49.1</c:v>
                </c:pt>
                <c:pt idx="44">
                  <c:v>50.1</c:v>
                </c:pt>
                <c:pt idx="45">
                  <c:v>51.3</c:v>
                </c:pt>
                <c:pt idx="46">
                  <c:v>52.2</c:v>
                </c:pt>
                <c:pt idx="47">
                  <c:v>52.4</c:v>
                </c:pt>
                <c:pt idx="48">
                  <c:v>52.5</c:v>
                </c:pt>
                <c:pt idx="49">
                  <c:v>52.5</c:v>
                </c:pt>
                <c:pt idx="50">
                  <c:v>53.3</c:v>
                </c:pt>
                <c:pt idx="51">
                  <c:v>54</c:v>
                </c:pt>
                <c:pt idx="52">
                  <c:v>54.7</c:v>
                </c:pt>
                <c:pt idx="53">
                  <c:v>54.4</c:v>
                </c:pt>
                <c:pt idx="54">
                  <c:v>54.7</c:v>
                </c:pt>
                <c:pt idx="55">
                  <c:v>53.9</c:v>
                </c:pt>
                <c:pt idx="56">
                  <c:v>53.1</c:v>
                </c:pt>
                <c:pt idx="57">
                  <c:v>52.4</c:v>
                </c:pt>
                <c:pt idx="58">
                  <c:v>50.4</c:v>
                </c:pt>
                <c:pt idx="59">
                  <c:v>51.4</c:v>
                </c:pt>
                <c:pt idx="60">
                  <c:v>51.9</c:v>
                </c:pt>
                <c:pt idx="61">
                  <c:v>51.9</c:v>
                </c:pt>
                <c:pt idx="62">
                  <c:v>50.4</c:v>
                </c:pt>
                <c:pt idx="63">
                  <c:v>49.2</c:v>
                </c:pt>
                <c:pt idx="64">
                  <c:v>48.7</c:v>
                </c:pt>
                <c:pt idx="65">
                  <c:v>49.9</c:v>
                </c:pt>
                <c:pt idx="66">
                  <c:v>50.8</c:v>
                </c:pt>
                <c:pt idx="67">
                  <c:v>50.4</c:v>
                </c:pt>
                <c:pt idx="68">
                  <c:v>51.7</c:v>
                </c:pt>
                <c:pt idx="69">
                  <c:v>52.7</c:v>
                </c:pt>
                <c:pt idx="70">
                  <c:v>52.8</c:v>
                </c:pt>
                <c:pt idx="71">
                  <c:v>53.6</c:v>
                </c:pt>
                <c:pt idx="72">
                  <c:v>53.5</c:v>
                </c:pt>
                <c:pt idx="73">
                  <c:v>54.5</c:v>
                </c:pt>
                <c:pt idx="74">
                  <c:v>56.1</c:v>
                </c:pt>
                <c:pt idx="75">
                  <c:v>56.7</c:v>
                </c:pt>
                <c:pt idx="76">
                  <c:v>57</c:v>
                </c:pt>
                <c:pt idx="77">
                  <c:v>57.7</c:v>
                </c:pt>
                <c:pt idx="78">
                  <c:v>57.4</c:v>
                </c:pt>
                <c:pt idx="79">
                  <c:v>56.5</c:v>
                </c:pt>
                <c:pt idx="80">
                  <c:v>56.6</c:v>
                </c:pt>
                <c:pt idx="81">
                  <c:v>57</c:v>
                </c:pt>
                <c:pt idx="82">
                  <c:v>56.6</c:v>
                </c:pt>
                <c:pt idx="83">
                  <c:v>56.5</c:v>
                </c:pt>
                <c:pt idx="84">
                  <c:v>55.5</c:v>
                </c:pt>
                <c:pt idx="85">
                  <c:v>55.6</c:v>
                </c:pt>
                <c:pt idx="86">
                  <c:v>55.4</c:v>
                </c:pt>
                <c:pt idx="87">
                  <c:v>55.4</c:v>
                </c:pt>
                <c:pt idx="88">
                  <c:v>55</c:v>
                </c:pt>
                <c:pt idx="89">
                  <c:v>55.6</c:v>
                </c:pt>
                <c:pt idx="90">
                  <c:v>54.9</c:v>
                </c:pt>
                <c:pt idx="91">
                  <c:v>54.3</c:v>
                </c:pt>
                <c:pt idx="92">
                  <c:v>53.2</c:v>
                </c:pt>
                <c:pt idx="93">
                  <c:v>51.5</c:v>
                </c:pt>
                <c:pt idx="94">
                  <c:v>52.8</c:v>
                </c:pt>
                <c:pt idx="95">
                  <c:v>52.6</c:v>
                </c:pt>
                <c:pt idx="96">
                  <c:v>52.8</c:v>
                </c:pt>
                <c:pt idx="97">
                  <c:v>52.3</c:v>
                </c:pt>
                <c:pt idx="98">
                  <c:v>52</c:v>
                </c:pt>
                <c:pt idx="99">
                  <c:v>50.7</c:v>
                </c:pt>
                <c:pt idx="100">
                  <c:v>50.6</c:v>
                </c:pt>
                <c:pt idx="101">
                  <c:v>49.2</c:v>
                </c:pt>
                <c:pt idx="102">
                  <c:v>47.4</c:v>
                </c:pt>
                <c:pt idx="103">
                  <c:v>47.6</c:v>
                </c:pt>
                <c:pt idx="104">
                  <c:v>45</c:v>
                </c:pt>
                <c:pt idx="105">
                  <c:v>41.1</c:v>
                </c:pt>
                <c:pt idx="106">
                  <c:v>35.6</c:v>
                </c:pt>
                <c:pt idx="107">
                  <c:v>33.9</c:v>
                </c:pt>
                <c:pt idx="108">
                  <c:v>34.4</c:v>
                </c:pt>
                <c:pt idx="109">
                  <c:v>33.5</c:v>
                </c:pt>
                <c:pt idx="110">
                  <c:v>33.9</c:v>
                </c:pt>
                <c:pt idx="111">
                  <c:v>36.799999999999997</c:v>
                </c:pt>
                <c:pt idx="112">
                  <c:v>40.700000000000003</c:v>
                </c:pt>
                <c:pt idx="113">
                  <c:v>42.6</c:v>
                </c:pt>
                <c:pt idx="114">
                  <c:v>46.2</c:v>
                </c:pt>
                <c:pt idx="115">
                  <c:v>48.2</c:v>
                </c:pt>
                <c:pt idx="116">
                  <c:v>49.3</c:v>
                </c:pt>
                <c:pt idx="117">
                  <c:v>50.7</c:v>
                </c:pt>
                <c:pt idx="118">
                  <c:v>51.2</c:v>
                </c:pt>
                <c:pt idx="119">
                  <c:v>51.6</c:v>
                </c:pt>
                <c:pt idx="120">
                  <c:v>52.4</c:v>
                </c:pt>
                <c:pt idx="121">
                  <c:v>54.2</c:v>
                </c:pt>
                <c:pt idx="122">
                  <c:v>56.6</c:v>
                </c:pt>
                <c:pt idx="123">
                  <c:v>57.6</c:v>
                </c:pt>
                <c:pt idx="124">
                  <c:v>55.8</c:v>
                </c:pt>
                <c:pt idx="125">
                  <c:v>55.6</c:v>
                </c:pt>
                <c:pt idx="126">
                  <c:v>56.7</c:v>
                </c:pt>
                <c:pt idx="127">
                  <c:v>55.1</c:v>
                </c:pt>
                <c:pt idx="128">
                  <c:v>53.7</c:v>
                </c:pt>
                <c:pt idx="129">
                  <c:v>54.6</c:v>
                </c:pt>
                <c:pt idx="130">
                  <c:v>55.3</c:v>
                </c:pt>
                <c:pt idx="131">
                  <c:v>57.1</c:v>
                </c:pt>
                <c:pt idx="132">
                  <c:v>57.3</c:v>
                </c:pt>
                <c:pt idx="133">
                  <c:v>59</c:v>
                </c:pt>
                <c:pt idx="134">
                  <c:v>57.5</c:v>
                </c:pt>
                <c:pt idx="135">
                  <c:v>58</c:v>
                </c:pt>
                <c:pt idx="136">
                  <c:v>54.6</c:v>
                </c:pt>
                <c:pt idx="137">
                  <c:v>52</c:v>
                </c:pt>
                <c:pt idx="138">
                  <c:v>50.4</c:v>
                </c:pt>
                <c:pt idx="139">
                  <c:v>49</c:v>
                </c:pt>
                <c:pt idx="140">
                  <c:v>48.5</c:v>
                </c:pt>
                <c:pt idx="141">
                  <c:v>47.1</c:v>
                </c:pt>
                <c:pt idx="142">
                  <c:v>46.4</c:v>
                </c:pt>
                <c:pt idx="143">
                  <c:v>46.9</c:v>
                </c:pt>
                <c:pt idx="144">
                  <c:v>48.8</c:v>
                </c:pt>
                <c:pt idx="145">
                  <c:v>49</c:v>
                </c:pt>
                <c:pt idx="146">
                  <c:v>47.7</c:v>
                </c:pt>
                <c:pt idx="147">
                  <c:v>45.9</c:v>
                </c:pt>
                <c:pt idx="148">
                  <c:v>45.1</c:v>
                </c:pt>
                <c:pt idx="149">
                  <c:v>45.1</c:v>
                </c:pt>
                <c:pt idx="150">
                  <c:v>44</c:v>
                </c:pt>
                <c:pt idx="151">
                  <c:v>45.1</c:v>
                </c:pt>
                <c:pt idx="152">
                  <c:v>46.1</c:v>
                </c:pt>
                <c:pt idx="153">
                  <c:v>45.4</c:v>
                </c:pt>
                <c:pt idx="154">
                  <c:v>46.2</c:v>
                </c:pt>
                <c:pt idx="155">
                  <c:v>46.1</c:v>
                </c:pt>
                <c:pt idx="156">
                  <c:v>47.9</c:v>
                </c:pt>
                <c:pt idx="157">
                  <c:v>47.9</c:v>
                </c:pt>
                <c:pt idx="158">
                  <c:v>46.8</c:v>
                </c:pt>
                <c:pt idx="159">
                  <c:v>46.7</c:v>
                </c:pt>
                <c:pt idx="160">
                  <c:v>48.3</c:v>
                </c:pt>
                <c:pt idx="161">
                  <c:v>48.8</c:v>
                </c:pt>
                <c:pt idx="162">
                  <c:v>50.3</c:v>
                </c:pt>
                <c:pt idx="163">
                  <c:v>51.4</c:v>
                </c:pt>
                <c:pt idx="164">
                  <c:v>51.1</c:v>
                </c:pt>
                <c:pt idx="165">
                  <c:v>51.3</c:v>
                </c:pt>
                <c:pt idx="166">
                  <c:v>51.6</c:v>
                </c:pt>
                <c:pt idx="167">
                  <c:v>52.7</c:v>
                </c:pt>
                <c:pt idx="168">
                  <c:v>54</c:v>
                </c:pt>
                <c:pt idx="169">
                  <c:v>53.2</c:v>
                </c:pt>
                <c:pt idx="170">
                  <c:v>53</c:v>
                </c:pt>
                <c:pt idx="171">
                  <c:v>53.4</c:v>
                </c:pt>
                <c:pt idx="172">
                  <c:v>52.2</c:v>
                </c:pt>
                <c:pt idx="173">
                  <c:v>51.8</c:v>
                </c:pt>
                <c:pt idx="174">
                  <c:v>51.8</c:v>
                </c:pt>
                <c:pt idx="175">
                  <c:v>50.7</c:v>
                </c:pt>
                <c:pt idx="176">
                  <c:v>50.3</c:v>
                </c:pt>
                <c:pt idx="177">
                  <c:v>50.6</c:v>
                </c:pt>
                <c:pt idx="178">
                  <c:v>50.1</c:v>
                </c:pt>
                <c:pt idx="179">
                  <c:v>50.6</c:v>
                </c:pt>
                <c:pt idx="180">
                  <c:v>51</c:v>
                </c:pt>
                <c:pt idx="181">
                  <c:v>51</c:v>
                </c:pt>
                <c:pt idx="182">
                  <c:v>52.2</c:v>
                </c:pt>
                <c:pt idx="183">
                  <c:v>52</c:v>
                </c:pt>
                <c:pt idx="184">
                  <c:v>52.2</c:v>
                </c:pt>
                <c:pt idx="185">
                  <c:v>52.5</c:v>
                </c:pt>
                <c:pt idx="186">
                  <c:v>52.4</c:v>
                </c:pt>
                <c:pt idx="187">
                  <c:v>52.3</c:v>
                </c:pt>
                <c:pt idx="188">
                  <c:v>52</c:v>
                </c:pt>
                <c:pt idx="189">
                  <c:v>52.3</c:v>
                </c:pt>
                <c:pt idx="190">
                  <c:v>52.8</c:v>
                </c:pt>
                <c:pt idx="191">
                  <c:v>53.2</c:v>
                </c:pt>
                <c:pt idx="192">
                  <c:v>52.3</c:v>
                </c:pt>
                <c:pt idx="193">
                  <c:v>51.2</c:v>
                </c:pt>
                <c:pt idx="194">
                  <c:v>51.6</c:v>
                </c:pt>
                <c:pt idx="195">
                  <c:v>51.7</c:v>
                </c:pt>
                <c:pt idx="196">
                  <c:v>51.5</c:v>
                </c:pt>
                <c:pt idx="197">
                  <c:v>52.8</c:v>
                </c:pt>
                <c:pt idx="198">
                  <c:v>52</c:v>
                </c:pt>
                <c:pt idx="199">
                  <c:v>51.7</c:v>
                </c:pt>
                <c:pt idx="200">
                  <c:v>52.6</c:v>
                </c:pt>
                <c:pt idx="201">
                  <c:v>53.5</c:v>
                </c:pt>
                <c:pt idx="202">
                  <c:v>53.7</c:v>
                </c:pt>
                <c:pt idx="203">
                  <c:v>54.9</c:v>
                </c:pt>
                <c:pt idx="204">
                  <c:v>55.2</c:v>
                </c:pt>
                <c:pt idx="205">
                  <c:v>55.4</c:v>
                </c:pt>
                <c:pt idx="206">
                  <c:v>56.2</c:v>
                </c:pt>
                <c:pt idx="207">
                  <c:v>56.7</c:v>
                </c:pt>
                <c:pt idx="208">
                  <c:v>57</c:v>
                </c:pt>
                <c:pt idx="209">
                  <c:v>57.4</c:v>
                </c:pt>
                <c:pt idx="210">
                  <c:v>56.6</c:v>
                </c:pt>
                <c:pt idx="211">
                  <c:v>57.4</c:v>
                </c:pt>
                <c:pt idx="212">
                  <c:v>58.1</c:v>
                </c:pt>
                <c:pt idx="213">
                  <c:v>58.5</c:v>
                </c:pt>
                <c:pt idx="214">
                  <c:v>60.1</c:v>
                </c:pt>
                <c:pt idx="215">
                  <c:v>60.6</c:v>
                </c:pt>
                <c:pt idx="216">
                  <c:v>59.6</c:v>
                </c:pt>
                <c:pt idx="217">
                  <c:v>58.6</c:v>
                </c:pt>
                <c:pt idx="218">
                  <c:v>56.6</c:v>
                </c:pt>
                <c:pt idx="219">
                  <c:v>56.2</c:v>
                </c:pt>
                <c:pt idx="220">
                  <c:v>55.5</c:v>
                </c:pt>
                <c:pt idx="221">
                  <c:v>54.9</c:v>
                </c:pt>
                <c:pt idx="222">
                  <c:v>55.1</c:v>
                </c:pt>
                <c:pt idx="223">
                  <c:v>54.6</c:v>
                </c:pt>
                <c:pt idx="224">
                  <c:v>53.2</c:v>
                </c:pt>
                <c:pt idx="225">
                  <c:v>52</c:v>
                </c:pt>
                <c:pt idx="226">
                  <c:v>51.8</c:v>
                </c:pt>
                <c:pt idx="227">
                  <c:v>51.4</c:v>
                </c:pt>
                <c:pt idx="228">
                  <c:v>50.5</c:v>
                </c:pt>
                <c:pt idx="229">
                  <c:v>49.3</c:v>
                </c:pt>
                <c:pt idx="230">
                  <c:v>47.5</c:v>
                </c:pt>
                <c:pt idx="231">
                  <c:v>47.9</c:v>
                </c:pt>
                <c:pt idx="232">
                  <c:v>47.7</c:v>
                </c:pt>
                <c:pt idx="233">
                  <c:v>47.6</c:v>
                </c:pt>
                <c:pt idx="234">
                  <c:v>46.5</c:v>
                </c:pt>
                <c:pt idx="235">
                  <c:v>47</c:v>
                </c:pt>
                <c:pt idx="236">
                  <c:v>45.7</c:v>
                </c:pt>
                <c:pt idx="237">
                  <c:v>45.9</c:v>
                </c:pt>
                <c:pt idx="238">
                  <c:v>46.9</c:v>
                </c:pt>
                <c:pt idx="239">
                  <c:v>46.3</c:v>
                </c:pt>
                <c:pt idx="240">
                  <c:v>47.9</c:v>
                </c:pt>
                <c:pt idx="241">
                  <c:v>49.2</c:v>
                </c:pt>
                <c:pt idx="242">
                  <c:v>44.5</c:v>
                </c:pt>
                <c:pt idx="243">
                  <c:v>33.4</c:v>
                </c:pt>
                <c:pt idx="244">
                  <c:v>39.4</c:v>
                </c:pt>
                <c:pt idx="245">
                  <c:v>47.4</c:v>
                </c:pt>
                <c:pt idx="246">
                  <c:v>51.8</c:v>
                </c:pt>
                <c:pt idx="247">
                  <c:v>51.7</c:v>
                </c:pt>
                <c:pt idx="248">
                  <c:v>53.7</c:v>
                </c:pt>
                <c:pt idx="249">
                  <c:v>54.8</c:v>
                </c:pt>
                <c:pt idx="250">
                  <c:v>53.8</c:v>
                </c:pt>
                <c:pt idx="251">
                  <c:v>55.2</c:v>
                </c:pt>
                <c:pt idx="252">
                  <c:v>54.8</c:v>
                </c:pt>
                <c:pt idx="253">
                  <c:v>57.9</c:v>
                </c:pt>
                <c:pt idx="254">
                  <c:v>62.5</c:v>
                </c:pt>
                <c:pt idx="255">
                  <c:v>62.9</c:v>
                </c:pt>
                <c:pt idx="256">
                  <c:v>63.1</c:v>
                </c:pt>
                <c:pt idx="257">
                  <c:v>63.4</c:v>
                </c:pt>
                <c:pt idx="258">
                  <c:v>62.8</c:v>
                </c:pt>
                <c:pt idx="259">
                  <c:v>61.4</c:v>
                </c:pt>
                <c:pt idx="260">
                  <c:v>58.6</c:v>
                </c:pt>
                <c:pt idx="261">
                  <c:v>58.3</c:v>
                </c:pt>
                <c:pt idx="262">
                  <c:v>58.4</c:v>
                </c:pt>
                <c:pt idx="263">
                  <c:v>58</c:v>
                </c:pt>
                <c:pt idx="264">
                  <c:v>58.7</c:v>
                </c:pt>
                <c:pt idx="265">
                  <c:v>58.2</c:v>
                </c:pt>
                <c:pt idx="266">
                  <c:v>56.5</c:v>
                </c:pt>
                <c:pt idx="267">
                  <c:v>55.5</c:v>
                </c:pt>
                <c:pt idx="268">
                  <c:v>54.6</c:v>
                </c:pt>
                <c:pt idx="269">
                  <c:v>52.1</c:v>
                </c:pt>
                <c:pt idx="270">
                  <c:v>49.8</c:v>
                </c:pt>
                <c:pt idx="271">
                  <c:v>49.6</c:v>
                </c:pt>
                <c:pt idx="272">
                  <c:v>48.4</c:v>
                </c:pt>
                <c:pt idx="273">
                  <c:v>46.4</c:v>
                </c:pt>
                <c:pt idx="274">
                  <c:v>47.1</c:v>
                </c:pt>
                <c:pt idx="275">
                  <c:v>47.8</c:v>
                </c:pt>
                <c:pt idx="276">
                  <c:v>#N/A</c:v>
                </c:pt>
                <c:pt idx="277">
                  <c:v>#N/A</c:v>
                </c:pt>
              </c:numCache>
            </c:numRef>
          </c:val>
          <c:smooth val="0"/>
          <c:extLst>
            <c:ext xmlns:c16="http://schemas.microsoft.com/office/drawing/2014/chart" uri="{C3380CC4-5D6E-409C-BE32-E72D297353CC}">
              <c16:uniqueId val="{00000001-DC6A-48CE-80B7-E776B228A50B}"/>
            </c:ext>
          </c:extLst>
        </c:ser>
        <c:ser>
          <c:idx val="2"/>
          <c:order val="2"/>
          <c:tx>
            <c:strRef>
              <c:f>Tabelle1!$K$5</c:f>
              <c:strCache>
                <c:ptCount val="1"/>
                <c:pt idx="0">
                  <c:v>DE</c:v>
                </c:pt>
              </c:strCache>
            </c:strRef>
          </c:tx>
          <c:spPr>
            <a:ln w="28575" cap="rnd">
              <a:solidFill>
                <a:schemeClr val="accent3"/>
              </a:solidFill>
              <a:round/>
            </a:ln>
            <a:effectLst/>
          </c:spPr>
          <c:marker>
            <c:symbol val="none"/>
          </c:marker>
          <c:cat>
            <c:numRef>
              <c:f>Tabelle1!$D$9:$D$500</c:f>
              <c:numCache>
                <c:formatCode>m/d/yyyy</c:formatCode>
                <c:ptCount val="492"/>
                <c:pt idx="0">
                  <c:v>36540</c:v>
                </c:pt>
                <c:pt idx="1">
                  <c:v>36571</c:v>
                </c:pt>
                <c:pt idx="2">
                  <c:v>36600</c:v>
                </c:pt>
                <c:pt idx="3">
                  <c:v>36631</c:v>
                </c:pt>
                <c:pt idx="4">
                  <c:v>36661</c:v>
                </c:pt>
                <c:pt idx="5">
                  <c:v>36692</c:v>
                </c:pt>
                <c:pt idx="6">
                  <c:v>36722</c:v>
                </c:pt>
                <c:pt idx="7">
                  <c:v>36753</c:v>
                </c:pt>
                <c:pt idx="8">
                  <c:v>36784</c:v>
                </c:pt>
                <c:pt idx="9">
                  <c:v>36814</c:v>
                </c:pt>
                <c:pt idx="10">
                  <c:v>36845</c:v>
                </c:pt>
                <c:pt idx="11">
                  <c:v>36875</c:v>
                </c:pt>
                <c:pt idx="12">
                  <c:v>36906</c:v>
                </c:pt>
                <c:pt idx="13">
                  <c:v>36937</c:v>
                </c:pt>
                <c:pt idx="14">
                  <c:v>36965</c:v>
                </c:pt>
                <c:pt idx="15">
                  <c:v>36996</c:v>
                </c:pt>
                <c:pt idx="16">
                  <c:v>37026</c:v>
                </c:pt>
                <c:pt idx="17">
                  <c:v>37057</c:v>
                </c:pt>
                <c:pt idx="18">
                  <c:v>37087</c:v>
                </c:pt>
                <c:pt idx="19">
                  <c:v>37118</c:v>
                </c:pt>
                <c:pt idx="20">
                  <c:v>37149</c:v>
                </c:pt>
                <c:pt idx="21">
                  <c:v>37179</c:v>
                </c:pt>
                <c:pt idx="22">
                  <c:v>37210</c:v>
                </c:pt>
                <c:pt idx="23">
                  <c:v>37240</c:v>
                </c:pt>
                <c:pt idx="24">
                  <c:v>37271</c:v>
                </c:pt>
                <c:pt idx="25">
                  <c:v>37302</c:v>
                </c:pt>
                <c:pt idx="26">
                  <c:v>37330</c:v>
                </c:pt>
                <c:pt idx="27">
                  <c:v>37361</c:v>
                </c:pt>
                <c:pt idx="28">
                  <c:v>37391</c:v>
                </c:pt>
                <c:pt idx="29">
                  <c:v>37422</c:v>
                </c:pt>
                <c:pt idx="30">
                  <c:v>37452</c:v>
                </c:pt>
                <c:pt idx="31">
                  <c:v>37483</c:v>
                </c:pt>
                <c:pt idx="32">
                  <c:v>37514</c:v>
                </c:pt>
                <c:pt idx="33">
                  <c:v>37544</c:v>
                </c:pt>
                <c:pt idx="34">
                  <c:v>37575</c:v>
                </c:pt>
                <c:pt idx="35">
                  <c:v>37605</c:v>
                </c:pt>
                <c:pt idx="36">
                  <c:v>37636</c:v>
                </c:pt>
                <c:pt idx="37">
                  <c:v>37667</c:v>
                </c:pt>
                <c:pt idx="38">
                  <c:v>37695</c:v>
                </c:pt>
                <c:pt idx="39">
                  <c:v>37726</c:v>
                </c:pt>
                <c:pt idx="40">
                  <c:v>37756</c:v>
                </c:pt>
                <c:pt idx="41">
                  <c:v>37787</c:v>
                </c:pt>
                <c:pt idx="42">
                  <c:v>37817</c:v>
                </c:pt>
                <c:pt idx="43">
                  <c:v>37848</c:v>
                </c:pt>
                <c:pt idx="44">
                  <c:v>37879</c:v>
                </c:pt>
                <c:pt idx="45">
                  <c:v>37909</c:v>
                </c:pt>
                <c:pt idx="46">
                  <c:v>37940</c:v>
                </c:pt>
                <c:pt idx="47">
                  <c:v>37970</c:v>
                </c:pt>
                <c:pt idx="48">
                  <c:v>38001</c:v>
                </c:pt>
                <c:pt idx="49">
                  <c:v>38032</c:v>
                </c:pt>
                <c:pt idx="50">
                  <c:v>38061</c:v>
                </c:pt>
                <c:pt idx="51">
                  <c:v>38092</c:v>
                </c:pt>
                <c:pt idx="52">
                  <c:v>38122</c:v>
                </c:pt>
                <c:pt idx="53">
                  <c:v>38153</c:v>
                </c:pt>
                <c:pt idx="54">
                  <c:v>38183</c:v>
                </c:pt>
                <c:pt idx="55">
                  <c:v>38214</c:v>
                </c:pt>
                <c:pt idx="56">
                  <c:v>38245</c:v>
                </c:pt>
                <c:pt idx="57">
                  <c:v>38275</c:v>
                </c:pt>
                <c:pt idx="58">
                  <c:v>38306</c:v>
                </c:pt>
                <c:pt idx="59">
                  <c:v>38336</c:v>
                </c:pt>
                <c:pt idx="60">
                  <c:v>38367</c:v>
                </c:pt>
                <c:pt idx="61">
                  <c:v>38398</c:v>
                </c:pt>
                <c:pt idx="62">
                  <c:v>38426</c:v>
                </c:pt>
                <c:pt idx="63">
                  <c:v>38457</c:v>
                </c:pt>
                <c:pt idx="64">
                  <c:v>38487</c:v>
                </c:pt>
                <c:pt idx="65">
                  <c:v>38518</c:v>
                </c:pt>
                <c:pt idx="66">
                  <c:v>38548</c:v>
                </c:pt>
                <c:pt idx="67">
                  <c:v>38579</c:v>
                </c:pt>
                <c:pt idx="68">
                  <c:v>38610</c:v>
                </c:pt>
                <c:pt idx="69">
                  <c:v>38640</c:v>
                </c:pt>
                <c:pt idx="70">
                  <c:v>38671</c:v>
                </c:pt>
                <c:pt idx="71">
                  <c:v>38701</c:v>
                </c:pt>
                <c:pt idx="72">
                  <c:v>38732</c:v>
                </c:pt>
                <c:pt idx="73">
                  <c:v>38763</c:v>
                </c:pt>
                <c:pt idx="74">
                  <c:v>38791</c:v>
                </c:pt>
                <c:pt idx="75">
                  <c:v>38822</c:v>
                </c:pt>
                <c:pt idx="76">
                  <c:v>38852</c:v>
                </c:pt>
                <c:pt idx="77">
                  <c:v>38883</c:v>
                </c:pt>
                <c:pt idx="78">
                  <c:v>38913</c:v>
                </c:pt>
                <c:pt idx="79">
                  <c:v>38944</c:v>
                </c:pt>
                <c:pt idx="80">
                  <c:v>38975</c:v>
                </c:pt>
                <c:pt idx="81">
                  <c:v>39005</c:v>
                </c:pt>
                <c:pt idx="82">
                  <c:v>39036</c:v>
                </c:pt>
                <c:pt idx="83">
                  <c:v>39066</c:v>
                </c:pt>
                <c:pt idx="84">
                  <c:v>39097</c:v>
                </c:pt>
                <c:pt idx="85">
                  <c:v>39128</c:v>
                </c:pt>
                <c:pt idx="86">
                  <c:v>39156</c:v>
                </c:pt>
                <c:pt idx="87">
                  <c:v>39187</c:v>
                </c:pt>
                <c:pt idx="88">
                  <c:v>39217</c:v>
                </c:pt>
                <c:pt idx="89">
                  <c:v>39248</c:v>
                </c:pt>
                <c:pt idx="90">
                  <c:v>39278</c:v>
                </c:pt>
                <c:pt idx="91">
                  <c:v>39309</c:v>
                </c:pt>
                <c:pt idx="92">
                  <c:v>39340</c:v>
                </c:pt>
                <c:pt idx="93">
                  <c:v>39370</c:v>
                </c:pt>
                <c:pt idx="94">
                  <c:v>39401</c:v>
                </c:pt>
                <c:pt idx="95">
                  <c:v>39431</c:v>
                </c:pt>
                <c:pt idx="96">
                  <c:v>39462</c:v>
                </c:pt>
                <c:pt idx="97">
                  <c:v>39493</c:v>
                </c:pt>
                <c:pt idx="98">
                  <c:v>39522</c:v>
                </c:pt>
                <c:pt idx="99">
                  <c:v>39553</c:v>
                </c:pt>
                <c:pt idx="100">
                  <c:v>39583</c:v>
                </c:pt>
                <c:pt idx="101">
                  <c:v>39614</c:v>
                </c:pt>
                <c:pt idx="102">
                  <c:v>39644</c:v>
                </c:pt>
                <c:pt idx="103">
                  <c:v>39675</c:v>
                </c:pt>
                <c:pt idx="104">
                  <c:v>39706</c:v>
                </c:pt>
                <c:pt idx="105">
                  <c:v>39736</c:v>
                </c:pt>
                <c:pt idx="106">
                  <c:v>39767</c:v>
                </c:pt>
                <c:pt idx="107">
                  <c:v>39797</c:v>
                </c:pt>
                <c:pt idx="108">
                  <c:v>39828</c:v>
                </c:pt>
                <c:pt idx="109">
                  <c:v>39859</c:v>
                </c:pt>
                <c:pt idx="110">
                  <c:v>39887</c:v>
                </c:pt>
                <c:pt idx="111">
                  <c:v>39918</c:v>
                </c:pt>
                <c:pt idx="112">
                  <c:v>39948</c:v>
                </c:pt>
                <c:pt idx="113">
                  <c:v>39979</c:v>
                </c:pt>
                <c:pt idx="114">
                  <c:v>40009</c:v>
                </c:pt>
                <c:pt idx="115">
                  <c:v>40040</c:v>
                </c:pt>
                <c:pt idx="116">
                  <c:v>40071</c:v>
                </c:pt>
                <c:pt idx="117">
                  <c:v>40101</c:v>
                </c:pt>
                <c:pt idx="118">
                  <c:v>40132</c:v>
                </c:pt>
                <c:pt idx="119">
                  <c:v>40162</c:v>
                </c:pt>
                <c:pt idx="120">
                  <c:v>40193</c:v>
                </c:pt>
                <c:pt idx="121">
                  <c:v>40224</c:v>
                </c:pt>
                <c:pt idx="122">
                  <c:v>40252</c:v>
                </c:pt>
                <c:pt idx="123">
                  <c:v>40283</c:v>
                </c:pt>
                <c:pt idx="124">
                  <c:v>40313</c:v>
                </c:pt>
                <c:pt idx="125">
                  <c:v>40344</c:v>
                </c:pt>
                <c:pt idx="126">
                  <c:v>40374</c:v>
                </c:pt>
                <c:pt idx="127">
                  <c:v>40405</c:v>
                </c:pt>
                <c:pt idx="128">
                  <c:v>40436</c:v>
                </c:pt>
                <c:pt idx="129">
                  <c:v>40466</c:v>
                </c:pt>
                <c:pt idx="130">
                  <c:v>40497</c:v>
                </c:pt>
                <c:pt idx="131">
                  <c:v>40527</c:v>
                </c:pt>
                <c:pt idx="132">
                  <c:v>40558</c:v>
                </c:pt>
                <c:pt idx="133">
                  <c:v>40589</c:v>
                </c:pt>
                <c:pt idx="134">
                  <c:v>40617</c:v>
                </c:pt>
                <c:pt idx="135">
                  <c:v>40648</c:v>
                </c:pt>
                <c:pt idx="136">
                  <c:v>40678</c:v>
                </c:pt>
                <c:pt idx="137">
                  <c:v>40709</c:v>
                </c:pt>
                <c:pt idx="138">
                  <c:v>40739</c:v>
                </c:pt>
                <c:pt idx="139">
                  <c:v>40770</c:v>
                </c:pt>
                <c:pt idx="140">
                  <c:v>40801</c:v>
                </c:pt>
                <c:pt idx="141">
                  <c:v>40831</c:v>
                </c:pt>
                <c:pt idx="142">
                  <c:v>40862</c:v>
                </c:pt>
                <c:pt idx="143">
                  <c:v>40892</c:v>
                </c:pt>
                <c:pt idx="144">
                  <c:v>40923</c:v>
                </c:pt>
                <c:pt idx="145">
                  <c:v>40954</c:v>
                </c:pt>
                <c:pt idx="146">
                  <c:v>40983</c:v>
                </c:pt>
                <c:pt idx="147">
                  <c:v>41014</c:v>
                </c:pt>
                <c:pt idx="148">
                  <c:v>41044</c:v>
                </c:pt>
                <c:pt idx="149">
                  <c:v>41075</c:v>
                </c:pt>
                <c:pt idx="150">
                  <c:v>41105</c:v>
                </c:pt>
                <c:pt idx="151">
                  <c:v>41136</c:v>
                </c:pt>
                <c:pt idx="152">
                  <c:v>41167</c:v>
                </c:pt>
                <c:pt idx="153">
                  <c:v>41197</c:v>
                </c:pt>
                <c:pt idx="154">
                  <c:v>41228</c:v>
                </c:pt>
                <c:pt idx="155">
                  <c:v>41258</c:v>
                </c:pt>
                <c:pt idx="156">
                  <c:v>41289</c:v>
                </c:pt>
                <c:pt idx="157">
                  <c:v>41320</c:v>
                </c:pt>
                <c:pt idx="158">
                  <c:v>41348</c:v>
                </c:pt>
                <c:pt idx="159">
                  <c:v>41379</c:v>
                </c:pt>
                <c:pt idx="160">
                  <c:v>41409</c:v>
                </c:pt>
                <c:pt idx="161">
                  <c:v>41440</c:v>
                </c:pt>
                <c:pt idx="162">
                  <c:v>41470</c:v>
                </c:pt>
                <c:pt idx="163">
                  <c:v>41501</c:v>
                </c:pt>
                <c:pt idx="164">
                  <c:v>41532</c:v>
                </c:pt>
                <c:pt idx="165">
                  <c:v>41562</c:v>
                </c:pt>
                <c:pt idx="166">
                  <c:v>41593</c:v>
                </c:pt>
                <c:pt idx="167">
                  <c:v>41623</c:v>
                </c:pt>
                <c:pt idx="168">
                  <c:v>41654</c:v>
                </c:pt>
                <c:pt idx="169">
                  <c:v>41685</c:v>
                </c:pt>
                <c:pt idx="170">
                  <c:v>41713</c:v>
                </c:pt>
                <c:pt idx="171">
                  <c:v>41744</c:v>
                </c:pt>
                <c:pt idx="172">
                  <c:v>41774</c:v>
                </c:pt>
                <c:pt idx="173">
                  <c:v>41805</c:v>
                </c:pt>
                <c:pt idx="174">
                  <c:v>41835</c:v>
                </c:pt>
                <c:pt idx="175">
                  <c:v>41866</c:v>
                </c:pt>
                <c:pt idx="176">
                  <c:v>41897</c:v>
                </c:pt>
                <c:pt idx="177">
                  <c:v>41927</c:v>
                </c:pt>
                <c:pt idx="178">
                  <c:v>41958</c:v>
                </c:pt>
                <c:pt idx="179">
                  <c:v>41988</c:v>
                </c:pt>
                <c:pt idx="180">
                  <c:v>42019</c:v>
                </c:pt>
                <c:pt idx="181">
                  <c:v>42050</c:v>
                </c:pt>
                <c:pt idx="182">
                  <c:v>42078</c:v>
                </c:pt>
                <c:pt idx="183">
                  <c:v>42109</c:v>
                </c:pt>
                <c:pt idx="184">
                  <c:v>42139</c:v>
                </c:pt>
                <c:pt idx="185">
                  <c:v>42170</c:v>
                </c:pt>
                <c:pt idx="186">
                  <c:v>42200</c:v>
                </c:pt>
                <c:pt idx="187">
                  <c:v>42231</c:v>
                </c:pt>
                <c:pt idx="188">
                  <c:v>42262</c:v>
                </c:pt>
                <c:pt idx="189">
                  <c:v>42292</c:v>
                </c:pt>
                <c:pt idx="190">
                  <c:v>42323</c:v>
                </c:pt>
                <c:pt idx="191">
                  <c:v>42353</c:v>
                </c:pt>
                <c:pt idx="192">
                  <c:v>42384</c:v>
                </c:pt>
                <c:pt idx="193">
                  <c:v>42415</c:v>
                </c:pt>
                <c:pt idx="194">
                  <c:v>42444</c:v>
                </c:pt>
                <c:pt idx="195">
                  <c:v>42475</c:v>
                </c:pt>
                <c:pt idx="196">
                  <c:v>42505</c:v>
                </c:pt>
                <c:pt idx="197">
                  <c:v>42536</c:v>
                </c:pt>
                <c:pt idx="198">
                  <c:v>42566</c:v>
                </c:pt>
                <c:pt idx="199">
                  <c:v>42597</c:v>
                </c:pt>
                <c:pt idx="200">
                  <c:v>42628</c:v>
                </c:pt>
                <c:pt idx="201">
                  <c:v>42658</c:v>
                </c:pt>
                <c:pt idx="202">
                  <c:v>42689</c:v>
                </c:pt>
                <c:pt idx="203">
                  <c:v>42719</c:v>
                </c:pt>
                <c:pt idx="204">
                  <c:v>42750</c:v>
                </c:pt>
                <c:pt idx="205">
                  <c:v>42781</c:v>
                </c:pt>
                <c:pt idx="206">
                  <c:v>42809</c:v>
                </c:pt>
                <c:pt idx="207">
                  <c:v>42840</c:v>
                </c:pt>
                <c:pt idx="208">
                  <c:v>42870</c:v>
                </c:pt>
                <c:pt idx="209">
                  <c:v>42901</c:v>
                </c:pt>
                <c:pt idx="210">
                  <c:v>42931</c:v>
                </c:pt>
                <c:pt idx="211">
                  <c:v>42962</c:v>
                </c:pt>
                <c:pt idx="212">
                  <c:v>42993</c:v>
                </c:pt>
                <c:pt idx="213">
                  <c:v>43023</c:v>
                </c:pt>
                <c:pt idx="214">
                  <c:v>43054</c:v>
                </c:pt>
                <c:pt idx="215">
                  <c:v>43084</c:v>
                </c:pt>
                <c:pt idx="216">
                  <c:v>43115</c:v>
                </c:pt>
                <c:pt idx="217">
                  <c:v>43146</c:v>
                </c:pt>
                <c:pt idx="218">
                  <c:v>43174</c:v>
                </c:pt>
                <c:pt idx="219">
                  <c:v>43205</c:v>
                </c:pt>
                <c:pt idx="220">
                  <c:v>43235</c:v>
                </c:pt>
                <c:pt idx="221">
                  <c:v>43266</c:v>
                </c:pt>
                <c:pt idx="222">
                  <c:v>43296</c:v>
                </c:pt>
                <c:pt idx="223">
                  <c:v>43327</c:v>
                </c:pt>
                <c:pt idx="224">
                  <c:v>43358</c:v>
                </c:pt>
                <c:pt idx="225">
                  <c:v>43388</c:v>
                </c:pt>
                <c:pt idx="226">
                  <c:v>43419</c:v>
                </c:pt>
                <c:pt idx="227">
                  <c:v>43449</c:v>
                </c:pt>
                <c:pt idx="228">
                  <c:v>43480</c:v>
                </c:pt>
                <c:pt idx="229">
                  <c:v>43511</c:v>
                </c:pt>
                <c:pt idx="230">
                  <c:v>43539</c:v>
                </c:pt>
                <c:pt idx="231">
                  <c:v>43570</c:v>
                </c:pt>
                <c:pt idx="232">
                  <c:v>43600</c:v>
                </c:pt>
                <c:pt idx="233">
                  <c:v>43631</c:v>
                </c:pt>
                <c:pt idx="234">
                  <c:v>43661</c:v>
                </c:pt>
                <c:pt idx="235">
                  <c:v>43692</c:v>
                </c:pt>
                <c:pt idx="236">
                  <c:v>43723</c:v>
                </c:pt>
                <c:pt idx="237">
                  <c:v>43753</c:v>
                </c:pt>
                <c:pt idx="238">
                  <c:v>43784</c:v>
                </c:pt>
                <c:pt idx="239">
                  <c:v>43814</c:v>
                </c:pt>
                <c:pt idx="240">
                  <c:v>43845</c:v>
                </c:pt>
                <c:pt idx="241">
                  <c:v>43876</c:v>
                </c:pt>
                <c:pt idx="242">
                  <c:v>43905</c:v>
                </c:pt>
                <c:pt idx="243">
                  <c:v>43936</c:v>
                </c:pt>
                <c:pt idx="244">
                  <c:v>43966</c:v>
                </c:pt>
                <c:pt idx="245">
                  <c:v>43997</c:v>
                </c:pt>
                <c:pt idx="246">
                  <c:v>44027</c:v>
                </c:pt>
                <c:pt idx="247">
                  <c:v>44058</c:v>
                </c:pt>
                <c:pt idx="248">
                  <c:v>44089</c:v>
                </c:pt>
                <c:pt idx="249">
                  <c:v>44119</c:v>
                </c:pt>
                <c:pt idx="250">
                  <c:v>44150</c:v>
                </c:pt>
                <c:pt idx="251">
                  <c:v>44180</c:v>
                </c:pt>
                <c:pt idx="252">
                  <c:v>44211</c:v>
                </c:pt>
                <c:pt idx="253">
                  <c:v>44242</c:v>
                </c:pt>
                <c:pt idx="254">
                  <c:v>44270</c:v>
                </c:pt>
                <c:pt idx="255">
                  <c:v>44301</c:v>
                </c:pt>
                <c:pt idx="256">
                  <c:v>44331</c:v>
                </c:pt>
                <c:pt idx="257">
                  <c:v>44362</c:v>
                </c:pt>
                <c:pt idx="258">
                  <c:v>44392</c:v>
                </c:pt>
                <c:pt idx="259">
                  <c:v>44423</c:v>
                </c:pt>
                <c:pt idx="260">
                  <c:v>44454</c:v>
                </c:pt>
                <c:pt idx="261">
                  <c:v>44484</c:v>
                </c:pt>
                <c:pt idx="262">
                  <c:v>44515</c:v>
                </c:pt>
                <c:pt idx="263">
                  <c:v>44545</c:v>
                </c:pt>
                <c:pt idx="264">
                  <c:v>44576</c:v>
                </c:pt>
                <c:pt idx="265">
                  <c:v>44607</c:v>
                </c:pt>
                <c:pt idx="266">
                  <c:v>44635</c:v>
                </c:pt>
                <c:pt idx="267">
                  <c:v>44666</c:v>
                </c:pt>
                <c:pt idx="268">
                  <c:v>44696</c:v>
                </c:pt>
                <c:pt idx="269">
                  <c:v>44727</c:v>
                </c:pt>
                <c:pt idx="270">
                  <c:v>44757</c:v>
                </c:pt>
                <c:pt idx="271">
                  <c:v>44788</c:v>
                </c:pt>
                <c:pt idx="272">
                  <c:v>44819</c:v>
                </c:pt>
                <c:pt idx="273">
                  <c:v>44849</c:v>
                </c:pt>
                <c:pt idx="274">
                  <c:v>44880</c:v>
                </c:pt>
                <c:pt idx="275">
                  <c:v>44910</c:v>
                </c:pt>
                <c:pt idx="276">
                  <c:v>44941</c:v>
                </c:pt>
                <c:pt idx="277">
                  <c:v>44972</c:v>
                </c:pt>
              </c:numCache>
            </c:numRef>
          </c:cat>
          <c:val>
            <c:numRef>
              <c:f>Tabelle1!$K$9:$K$500</c:f>
              <c:numCache>
                <c:formatCode>General</c:formatCode>
                <c:ptCount val="492"/>
                <c:pt idx="0">
                  <c:v>54</c:v>
                </c:pt>
                <c:pt idx="1">
                  <c:v>55.6</c:v>
                </c:pt>
                <c:pt idx="2">
                  <c:v>58</c:v>
                </c:pt>
                <c:pt idx="3">
                  <c:v>60.9</c:v>
                </c:pt>
                <c:pt idx="4">
                  <c:v>59.1</c:v>
                </c:pt>
                <c:pt idx="5">
                  <c:v>59.5</c:v>
                </c:pt>
                <c:pt idx="6">
                  <c:v>58.3</c:v>
                </c:pt>
                <c:pt idx="7">
                  <c:v>58.2</c:v>
                </c:pt>
                <c:pt idx="8">
                  <c:v>56.5</c:v>
                </c:pt>
                <c:pt idx="9">
                  <c:v>56.4</c:v>
                </c:pt>
                <c:pt idx="10">
                  <c:v>55.4</c:v>
                </c:pt>
                <c:pt idx="11">
                  <c:v>54</c:v>
                </c:pt>
                <c:pt idx="12">
                  <c:v>53.7</c:v>
                </c:pt>
                <c:pt idx="13">
                  <c:v>52.8</c:v>
                </c:pt>
                <c:pt idx="14">
                  <c:v>51.1</c:v>
                </c:pt>
                <c:pt idx="15">
                  <c:v>49.3</c:v>
                </c:pt>
                <c:pt idx="16">
                  <c:v>48.8</c:v>
                </c:pt>
                <c:pt idx="17">
                  <c:v>46.6</c:v>
                </c:pt>
                <c:pt idx="18">
                  <c:v>46.3</c:v>
                </c:pt>
                <c:pt idx="19">
                  <c:v>46.4</c:v>
                </c:pt>
                <c:pt idx="20">
                  <c:v>45.1</c:v>
                </c:pt>
                <c:pt idx="21">
                  <c:v>42</c:v>
                </c:pt>
                <c:pt idx="22">
                  <c:v>43.9</c:v>
                </c:pt>
                <c:pt idx="23">
                  <c:v>43.5</c:v>
                </c:pt>
                <c:pt idx="24">
                  <c:v>44.3</c:v>
                </c:pt>
                <c:pt idx="25">
                  <c:v>47.3</c:v>
                </c:pt>
                <c:pt idx="26">
                  <c:v>48.2</c:v>
                </c:pt>
                <c:pt idx="27">
                  <c:v>49</c:v>
                </c:pt>
                <c:pt idx="28">
                  <c:v>49.8</c:v>
                </c:pt>
                <c:pt idx="29">
                  <c:v>50.2</c:v>
                </c:pt>
                <c:pt idx="30">
                  <c:v>50.1</c:v>
                </c:pt>
                <c:pt idx="31">
                  <c:v>49.1</c:v>
                </c:pt>
                <c:pt idx="32">
                  <c:v>46</c:v>
                </c:pt>
                <c:pt idx="33">
                  <c:v>48.4</c:v>
                </c:pt>
                <c:pt idx="34">
                  <c:v>48.7</c:v>
                </c:pt>
                <c:pt idx="35">
                  <c:v>47</c:v>
                </c:pt>
                <c:pt idx="36">
                  <c:v>48.3</c:v>
                </c:pt>
                <c:pt idx="37">
                  <c:v>49.9</c:v>
                </c:pt>
                <c:pt idx="38">
                  <c:v>47.8</c:v>
                </c:pt>
                <c:pt idx="39">
                  <c:v>45.9</c:v>
                </c:pt>
                <c:pt idx="40">
                  <c:v>44.8</c:v>
                </c:pt>
                <c:pt idx="41">
                  <c:v>45.6</c:v>
                </c:pt>
                <c:pt idx="42">
                  <c:v>48.1</c:v>
                </c:pt>
                <c:pt idx="43">
                  <c:v>48.8</c:v>
                </c:pt>
                <c:pt idx="44">
                  <c:v>50.2</c:v>
                </c:pt>
                <c:pt idx="45">
                  <c:v>51.2</c:v>
                </c:pt>
                <c:pt idx="46">
                  <c:v>51.1</c:v>
                </c:pt>
                <c:pt idx="47">
                  <c:v>53</c:v>
                </c:pt>
                <c:pt idx="48">
                  <c:v>53</c:v>
                </c:pt>
                <c:pt idx="49">
                  <c:v>53.4</c:v>
                </c:pt>
                <c:pt idx="50">
                  <c:v>54.1</c:v>
                </c:pt>
                <c:pt idx="51">
                  <c:v>55.3</c:v>
                </c:pt>
                <c:pt idx="52">
                  <c:v>56.2</c:v>
                </c:pt>
                <c:pt idx="53">
                  <c:v>55.9</c:v>
                </c:pt>
                <c:pt idx="54">
                  <c:v>56.6</c:v>
                </c:pt>
                <c:pt idx="55">
                  <c:v>55.1</c:v>
                </c:pt>
                <c:pt idx="56">
                  <c:v>54.1</c:v>
                </c:pt>
                <c:pt idx="57">
                  <c:v>52.8</c:v>
                </c:pt>
                <c:pt idx="58">
                  <c:v>49.9</c:v>
                </c:pt>
                <c:pt idx="59">
                  <c:v>51.7</c:v>
                </c:pt>
                <c:pt idx="60">
                  <c:v>52.4</c:v>
                </c:pt>
                <c:pt idx="61">
                  <c:v>52.2</c:v>
                </c:pt>
                <c:pt idx="62">
                  <c:v>50.3</c:v>
                </c:pt>
                <c:pt idx="63">
                  <c:v>49.7</c:v>
                </c:pt>
                <c:pt idx="64">
                  <c:v>49.4</c:v>
                </c:pt>
                <c:pt idx="65">
                  <c:v>49.8</c:v>
                </c:pt>
                <c:pt idx="66">
                  <c:v>49.8</c:v>
                </c:pt>
                <c:pt idx="67">
                  <c:v>48.7</c:v>
                </c:pt>
                <c:pt idx="68">
                  <c:v>51</c:v>
                </c:pt>
                <c:pt idx="69">
                  <c:v>53.1</c:v>
                </c:pt>
                <c:pt idx="70">
                  <c:v>52.7</c:v>
                </c:pt>
                <c:pt idx="71">
                  <c:v>53.6</c:v>
                </c:pt>
                <c:pt idx="72">
                  <c:v>55</c:v>
                </c:pt>
                <c:pt idx="73">
                  <c:v>55.8</c:v>
                </c:pt>
                <c:pt idx="74">
                  <c:v>58.1</c:v>
                </c:pt>
                <c:pt idx="75">
                  <c:v>58.1</c:v>
                </c:pt>
                <c:pt idx="76">
                  <c:v>58.5</c:v>
                </c:pt>
                <c:pt idx="77">
                  <c:v>59.5</c:v>
                </c:pt>
                <c:pt idx="78">
                  <c:v>58.9</c:v>
                </c:pt>
                <c:pt idx="79">
                  <c:v>58.3</c:v>
                </c:pt>
                <c:pt idx="80">
                  <c:v>58.4</c:v>
                </c:pt>
                <c:pt idx="81">
                  <c:v>58.2</c:v>
                </c:pt>
                <c:pt idx="82">
                  <c:v>58.3</c:v>
                </c:pt>
                <c:pt idx="83">
                  <c:v>59.4</c:v>
                </c:pt>
                <c:pt idx="84">
                  <c:v>58.5</c:v>
                </c:pt>
                <c:pt idx="85">
                  <c:v>57.2</c:v>
                </c:pt>
                <c:pt idx="86">
                  <c:v>56.9</c:v>
                </c:pt>
                <c:pt idx="87">
                  <c:v>57</c:v>
                </c:pt>
                <c:pt idx="88">
                  <c:v>56.1</c:v>
                </c:pt>
                <c:pt idx="89">
                  <c:v>57.3</c:v>
                </c:pt>
                <c:pt idx="90">
                  <c:v>56.8</c:v>
                </c:pt>
                <c:pt idx="91">
                  <c:v>56</c:v>
                </c:pt>
                <c:pt idx="92">
                  <c:v>54.9</c:v>
                </c:pt>
                <c:pt idx="93">
                  <c:v>51.7</c:v>
                </c:pt>
                <c:pt idx="94">
                  <c:v>53.7</c:v>
                </c:pt>
                <c:pt idx="95">
                  <c:v>53.6</c:v>
                </c:pt>
                <c:pt idx="96">
                  <c:v>54.4</c:v>
                </c:pt>
                <c:pt idx="97">
                  <c:v>54.3</c:v>
                </c:pt>
                <c:pt idx="98">
                  <c:v>55.1</c:v>
                </c:pt>
                <c:pt idx="99">
                  <c:v>53.6</c:v>
                </c:pt>
                <c:pt idx="100">
                  <c:v>53.6</c:v>
                </c:pt>
                <c:pt idx="101">
                  <c:v>52.6</c:v>
                </c:pt>
                <c:pt idx="102">
                  <c:v>50.9</c:v>
                </c:pt>
                <c:pt idx="103">
                  <c:v>49.7</c:v>
                </c:pt>
                <c:pt idx="104">
                  <c:v>47.4</c:v>
                </c:pt>
                <c:pt idx="105">
                  <c:v>42.9</c:v>
                </c:pt>
                <c:pt idx="106">
                  <c:v>35.700000000000003</c:v>
                </c:pt>
                <c:pt idx="107">
                  <c:v>32.700000000000003</c:v>
                </c:pt>
                <c:pt idx="108">
                  <c:v>32</c:v>
                </c:pt>
                <c:pt idx="109">
                  <c:v>32.1</c:v>
                </c:pt>
                <c:pt idx="110">
                  <c:v>32.4</c:v>
                </c:pt>
                <c:pt idx="111">
                  <c:v>35.4</c:v>
                </c:pt>
                <c:pt idx="112">
                  <c:v>39.6</c:v>
                </c:pt>
                <c:pt idx="113">
                  <c:v>40.9</c:v>
                </c:pt>
                <c:pt idx="114">
                  <c:v>45.6</c:v>
                </c:pt>
                <c:pt idx="115">
                  <c:v>49.2</c:v>
                </c:pt>
                <c:pt idx="116">
                  <c:v>49.6</c:v>
                </c:pt>
                <c:pt idx="117">
                  <c:v>51</c:v>
                </c:pt>
                <c:pt idx="118">
                  <c:v>52.4</c:v>
                </c:pt>
                <c:pt idx="119">
                  <c:v>52.7</c:v>
                </c:pt>
                <c:pt idx="120">
                  <c:v>53.7</c:v>
                </c:pt>
                <c:pt idx="121">
                  <c:v>57.2</c:v>
                </c:pt>
                <c:pt idx="122">
                  <c:v>60.2</c:v>
                </c:pt>
                <c:pt idx="123">
                  <c:v>61.6</c:v>
                </c:pt>
                <c:pt idx="124">
                  <c:v>58.4</c:v>
                </c:pt>
                <c:pt idx="125">
                  <c:v>58.4</c:v>
                </c:pt>
                <c:pt idx="126">
                  <c:v>61.2</c:v>
                </c:pt>
                <c:pt idx="127">
                  <c:v>58.2</c:v>
                </c:pt>
                <c:pt idx="128">
                  <c:v>55.1</c:v>
                </c:pt>
                <c:pt idx="129">
                  <c:v>56.6</c:v>
                </c:pt>
                <c:pt idx="130">
                  <c:v>58.1</c:v>
                </c:pt>
                <c:pt idx="131">
                  <c:v>60.7</c:v>
                </c:pt>
                <c:pt idx="132">
                  <c:v>60.5</c:v>
                </c:pt>
                <c:pt idx="133">
                  <c:v>62.7</c:v>
                </c:pt>
                <c:pt idx="134">
                  <c:v>60.9</c:v>
                </c:pt>
                <c:pt idx="135">
                  <c:v>62</c:v>
                </c:pt>
                <c:pt idx="136">
                  <c:v>57.7</c:v>
                </c:pt>
                <c:pt idx="137">
                  <c:v>54.6</c:v>
                </c:pt>
                <c:pt idx="138">
                  <c:v>52</c:v>
                </c:pt>
                <c:pt idx="139">
                  <c:v>50.9</c:v>
                </c:pt>
                <c:pt idx="140">
                  <c:v>50.3</c:v>
                </c:pt>
                <c:pt idx="141">
                  <c:v>49.1</c:v>
                </c:pt>
                <c:pt idx="142">
                  <c:v>47.9</c:v>
                </c:pt>
                <c:pt idx="143">
                  <c:v>48.4</c:v>
                </c:pt>
                <c:pt idx="144">
                  <c:v>51</c:v>
                </c:pt>
                <c:pt idx="145">
                  <c:v>50.2</c:v>
                </c:pt>
                <c:pt idx="146">
                  <c:v>48.4</c:v>
                </c:pt>
                <c:pt idx="147">
                  <c:v>46.2</c:v>
                </c:pt>
                <c:pt idx="148">
                  <c:v>45.2</c:v>
                </c:pt>
                <c:pt idx="149">
                  <c:v>45</c:v>
                </c:pt>
                <c:pt idx="150">
                  <c:v>43</c:v>
                </c:pt>
                <c:pt idx="151">
                  <c:v>44.7</c:v>
                </c:pt>
                <c:pt idx="152">
                  <c:v>47.4</c:v>
                </c:pt>
                <c:pt idx="153">
                  <c:v>46</c:v>
                </c:pt>
                <c:pt idx="154">
                  <c:v>46.8</c:v>
                </c:pt>
                <c:pt idx="155">
                  <c:v>46</c:v>
                </c:pt>
                <c:pt idx="156">
                  <c:v>49.8</c:v>
                </c:pt>
                <c:pt idx="157">
                  <c:v>50.3</c:v>
                </c:pt>
                <c:pt idx="158">
                  <c:v>49</c:v>
                </c:pt>
                <c:pt idx="159">
                  <c:v>48.1</c:v>
                </c:pt>
                <c:pt idx="160">
                  <c:v>49.4</c:v>
                </c:pt>
                <c:pt idx="161">
                  <c:v>48.6</c:v>
                </c:pt>
                <c:pt idx="162">
                  <c:v>50.7</c:v>
                </c:pt>
                <c:pt idx="163">
                  <c:v>51.8</c:v>
                </c:pt>
                <c:pt idx="164">
                  <c:v>51.1</c:v>
                </c:pt>
                <c:pt idx="165">
                  <c:v>51.7</c:v>
                </c:pt>
                <c:pt idx="166">
                  <c:v>52.7</c:v>
                </c:pt>
                <c:pt idx="167">
                  <c:v>54.3</c:v>
                </c:pt>
                <c:pt idx="168">
                  <c:v>56.5</c:v>
                </c:pt>
                <c:pt idx="169">
                  <c:v>54.8</c:v>
                </c:pt>
                <c:pt idx="170">
                  <c:v>53.7</c:v>
                </c:pt>
                <c:pt idx="171">
                  <c:v>54.1</c:v>
                </c:pt>
                <c:pt idx="172">
                  <c:v>52.3</c:v>
                </c:pt>
                <c:pt idx="173">
                  <c:v>52</c:v>
                </c:pt>
                <c:pt idx="174">
                  <c:v>52.4</c:v>
                </c:pt>
                <c:pt idx="175">
                  <c:v>51.4</c:v>
                </c:pt>
                <c:pt idx="176">
                  <c:v>49.9</c:v>
                </c:pt>
                <c:pt idx="177">
                  <c:v>51.4</c:v>
                </c:pt>
                <c:pt idx="178">
                  <c:v>49.5</c:v>
                </c:pt>
                <c:pt idx="179">
                  <c:v>51.2</c:v>
                </c:pt>
                <c:pt idx="180">
                  <c:v>50.9</c:v>
                </c:pt>
                <c:pt idx="181">
                  <c:v>51.1</c:v>
                </c:pt>
                <c:pt idx="182">
                  <c:v>52.8</c:v>
                </c:pt>
                <c:pt idx="183">
                  <c:v>52.1</c:v>
                </c:pt>
                <c:pt idx="184">
                  <c:v>51.1</c:v>
                </c:pt>
                <c:pt idx="185">
                  <c:v>51.9</c:v>
                </c:pt>
                <c:pt idx="186">
                  <c:v>51.8</c:v>
                </c:pt>
                <c:pt idx="187">
                  <c:v>53.3</c:v>
                </c:pt>
                <c:pt idx="188">
                  <c:v>52.3</c:v>
                </c:pt>
                <c:pt idx="189">
                  <c:v>52.1</c:v>
                </c:pt>
                <c:pt idx="190">
                  <c:v>52.9</c:v>
                </c:pt>
                <c:pt idx="191">
                  <c:v>53.2</c:v>
                </c:pt>
                <c:pt idx="192">
                  <c:v>52.3</c:v>
                </c:pt>
                <c:pt idx="193">
                  <c:v>50.5</c:v>
                </c:pt>
                <c:pt idx="194">
                  <c:v>50.7</c:v>
                </c:pt>
                <c:pt idx="195">
                  <c:v>51.8</c:v>
                </c:pt>
                <c:pt idx="196">
                  <c:v>52.1</c:v>
                </c:pt>
                <c:pt idx="197">
                  <c:v>54.5</c:v>
                </c:pt>
                <c:pt idx="198">
                  <c:v>53.8</c:v>
                </c:pt>
                <c:pt idx="199">
                  <c:v>53.6</c:v>
                </c:pt>
                <c:pt idx="200">
                  <c:v>54.3</c:v>
                </c:pt>
                <c:pt idx="201">
                  <c:v>55</c:v>
                </c:pt>
                <c:pt idx="202">
                  <c:v>54.3</c:v>
                </c:pt>
                <c:pt idx="203">
                  <c:v>55.6</c:v>
                </c:pt>
                <c:pt idx="204">
                  <c:v>56.4</c:v>
                </c:pt>
                <c:pt idx="205">
                  <c:v>56.8</c:v>
                </c:pt>
                <c:pt idx="206">
                  <c:v>58.3</c:v>
                </c:pt>
                <c:pt idx="207">
                  <c:v>58.2</c:v>
                </c:pt>
                <c:pt idx="208">
                  <c:v>59.5</c:v>
                </c:pt>
                <c:pt idx="209">
                  <c:v>59.6</c:v>
                </c:pt>
                <c:pt idx="210">
                  <c:v>58.1</c:v>
                </c:pt>
                <c:pt idx="211">
                  <c:v>59.3</c:v>
                </c:pt>
                <c:pt idx="212">
                  <c:v>60.6</c:v>
                </c:pt>
                <c:pt idx="213">
                  <c:v>60.6</c:v>
                </c:pt>
                <c:pt idx="214">
                  <c:v>62.5</c:v>
                </c:pt>
                <c:pt idx="215">
                  <c:v>63.3</c:v>
                </c:pt>
                <c:pt idx="216">
                  <c:v>61.1</c:v>
                </c:pt>
                <c:pt idx="217">
                  <c:v>60.6</c:v>
                </c:pt>
                <c:pt idx="218">
                  <c:v>58.2</c:v>
                </c:pt>
                <c:pt idx="219">
                  <c:v>58.1</c:v>
                </c:pt>
                <c:pt idx="220">
                  <c:v>56.9</c:v>
                </c:pt>
                <c:pt idx="221">
                  <c:v>55.9</c:v>
                </c:pt>
                <c:pt idx="222">
                  <c:v>56.9</c:v>
                </c:pt>
                <c:pt idx="223">
                  <c:v>55.9</c:v>
                </c:pt>
                <c:pt idx="224">
                  <c:v>53.7</c:v>
                </c:pt>
                <c:pt idx="225">
                  <c:v>52.2</c:v>
                </c:pt>
                <c:pt idx="226">
                  <c:v>51.8</c:v>
                </c:pt>
                <c:pt idx="227">
                  <c:v>51.5</c:v>
                </c:pt>
                <c:pt idx="228">
                  <c:v>49.7</c:v>
                </c:pt>
                <c:pt idx="229">
                  <c:v>47.6</c:v>
                </c:pt>
                <c:pt idx="230">
                  <c:v>44.1</c:v>
                </c:pt>
                <c:pt idx="231">
                  <c:v>44.4</c:v>
                </c:pt>
                <c:pt idx="232">
                  <c:v>44.3</c:v>
                </c:pt>
                <c:pt idx="233">
                  <c:v>45</c:v>
                </c:pt>
                <c:pt idx="234">
                  <c:v>43.2</c:v>
                </c:pt>
                <c:pt idx="235">
                  <c:v>43.5</c:v>
                </c:pt>
                <c:pt idx="236">
                  <c:v>41.7</c:v>
                </c:pt>
                <c:pt idx="237">
                  <c:v>42.1</c:v>
                </c:pt>
                <c:pt idx="238">
                  <c:v>44.1</c:v>
                </c:pt>
                <c:pt idx="239">
                  <c:v>43.7</c:v>
                </c:pt>
                <c:pt idx="240">
                  <c:v>45.3</c:v>
                </c:pt>
                <c:pt idx="241">
                  <c:v>48</c:v>
                </c:pt>
                <c:pt idx="242">
                  <c:v>45.4</c:v>
                </c:pt>
                <c:pt idx="243">
                  <c:v>34.5</c:v>
                </c:pt>
                <c:pt idx="244">
                  <c:v>36.6</c:v>
                </c:pt>
                <c:pt idx="245">
                  <c:v>45.2</c:v>
                </c:pt>
                <c:pt idx="246">
                  <c:v>51</c:v>
                </c:pt>
                <c:pt idx="247">
                  <c:v>52.2</c:v>
                </c:pt>
                <c:pt idx="248">
                  <c:v>56.4</c:v>
                </c:pt>
                <c:pt idx="249">
                  <c:v>58.2</c:v>
                </c:pt>
                <c:pt idx="250">
                  <c:v>57.8</c:v>
                </c:pt>
                <c:pt idx="251">
                  <c:v>58.3</c:v>
                </c:pt>
                <c:pt idx="252">
                  <c:v>57.1</c:v>
                </c:pt>
                <c:pt idx="253">
                  <c:v>60.7</c:v>
                </c:pt>
                <c:pt idx="254">
                  <c:v>66.599999999999994</c:v>
                </c:pt>
                <c:pt idx="255">
                  <c:v>66.2</c:v>
                </c:pt>
                <c:pt idx="256">
                  <c:v>64.400000000000006</c:v>
                </c:pt>
                <c:pt idx="257">
                  <c:v>65.099999999999994</c:v>
                </c:pt>
                <c:pt idx="258">
                  <c:v>65.900000000000006</c:v>
                </c:pt>
                <c:pt idx="259">
                  <c:v>62.6</c:v>
                </c:pt>
                <c:pt idx="260">
                  <c:v>58.4</c:v>
                </c:pt>
                <c:pt idx="261">
                  <c:v>57.8</c:v>
                </c:pt>
                <c:pt idx="262">
                  <c:v>57.4</c:v>
                </c:pt>
                <c:pt idx="263">
                  <c:v>57.4</c:v>
                </c:pt>
                <c:pt idx="264">
                  <c:v>59.8</c:v>
                </c:pt>
                <c:pt idx="265">
                  <c:v>58.4</c:v>
                </c:pt>
                <c:pt idx="266">
                  <c:v>56.9</c:v>
                </c:pt>
                <c:pt idx="267">
                  <c:v>54.6</c:v>
                </c:pt>
                <c:pt idx="268">
                  <c:v>54.8</c:v>
                </c:pt>
                <c:pt idx="269">
                  <c:v>52</c:v>
                </c:pt>
                <c:pt idx="270">
                  <c:v>49.3</c:v>
                </c:pt>
                <c:pt idx="271">
                  <c:v>49.1</c:v>
                </c:pt>
                <c:pt idx="272">
                  <c:v>47.8</c:v>
                </c:pt>
                <c:pt idx="273">
                  <c:v>45.1</c:v>
                </c:pt>
                <c:pt idx="274">
                  <c:v>46.2</c:v>
                </c:pt>
                <c:pt idx="275">
                  <c:v>47.1</c:v>
                </c:pt>
                <c:pt idx="276">
                  <c:v>#N/A</c:v>
                </c:pt>
                <c:pt idx="277">
                  <c:v>#N/A</c:v>
                </c:pt>
              </c:numCache>
            </c:numRef>
          </c:val>
          <c:smooth val="0"/>
          <c:extLst>
            <c:ext xmlns:c16="http://schemas.microsoft.com/office/drawing/2014/chart" uri="{C3380CC4-5D6E-409C-BE32-E72D297353CC}">
              <c16:uniqueId val="{00000002-DC6A-48CE-80B7-E776B228A50B}"/>
            </c:ext>
          </c:extLst>
        </c:ser>
        <c:ser>
          <c:idx val="3"/>
          <c:order val="3"/>
          <c:tx>
            <c:strRef>
              <c:f>Tabelle1!$F$5</c:f>
              <c:strCache>
                <c:ptCount val="1"/>
                <c:pt idx="0">
                  <c:v>AT</c:v>
                </c:pt>
              </c:strCache>
            </c:strRef>
          </c:tx>
          <c:spPr>
            <a:ln w="28575" cap="rnd">
              <a:solidFill>
                <a:schemeClr val="accent4"/>
              </a:solidFill>
              <a:round/>
            </a:ln>
            <a:effectLst/>
          </c:spPr>
          <c:marker>
            <c:symbol val="none"/>
          </c:marker>
          <c:cat>
            <c:numRef>
              <c:f>Tabelle1!$D$9:$D$500</c:f>
              <c:numCache>
                <c:formatCode>m/d/yyyy</c:formatCode>
                <c:ptCount val="492"/>
                <c:pt idx="0">
                  <c:v>36540</c:v>
                </c:pt>
                <c:pt idx="1">
                  <c:v>36571</c:v>
                </c:pt>
                <c:pt idx="2">
                  <c:v>36600</c:v>
                </c:pt>
                <c:pt idx="3">
                  <c:v>36631</c:v>
                </c:pt>
                <c:pt idx="4">
                  <c:v>36661</c:v>
                </c:pt>
                <c:pt idx="5">
                  <c:v>36692</c:v>
                </c:pt>
                <c:pt idx="6">
                  <c:v>36722</c:v>
                </c:pt>
                <c:pt idx="7">
                  <c:v>36753</c:v>
                </c:pt>
                <c:pt idx="8">
                  <c:v>36784</c:v>
                </c:pt>
                <c:pt idx="9">
                  <c:v>36814</c:v>
                </c:pt>
                <c:pt idx="10">
                  <c:v>36845</c:v>
                </c:pt>
                <c:pt idx="11">
                  <c:v>36875</c:v>
                </c:pt>
                <c:pt idx="12">
                  <c:v>36906</c:v>
                </c:pt>
                <c:pt idx="13">
                  <c:v>36937</c:v>
                </c:pt>
                <c:pt idx="14">
                  <c:v>36965</c:v>
                </c:pt>
                <c:pt idx="15">
                  <c:v>36996</c:v>
                </c:pt>
                <c:pt idx="16">
                  <c:v>37026</c:v>
                </c:pt>
                <c:pt idx="17">
                  <c:v>37057</c:v>
                </c:pt>
                <c:pt idx="18">
                  <c:v>37087</c:v>
                </c:pt>
                <c:pt idx="19">
                  <c:v>37118</c:v>
                </c:pt>
                <c:pt idx="20">
                  <c:v>37149</c:v>
                </c:pt>
                <c:pt idx="21">
                  <c:v>37179</c:v>
                </c:pt>
                <c:pt idx="22">
                  <c:v>37210</c:v>
                </c:pt>
                <c:pt idx="23">
                  <c:v>37240</c:v>
                </c:pt>
                <c:pt idx="24">
                  <c:v>37271</c:v>
                </c:pt>
                <c:pt idx="25">
                  <c:v>37302</c:v>
                </c:pt>
                <c:pt idx="26">
                  <c:v>37330</c:v>
                </c:pt>
                <c:pt idx="27">
                  <c:v>37361</c:v>
                </c:pt>
                <c:pt idx="28">
                  <c:v>37391</c:v>
                </c:pt>
                <c:pt idx="29">
                  <c:v>37422</c:v>
                </c:pt>
                <c:pt idx="30">
                  <c:v>37452</c:v>
                </c:pt>
                <c:pt idx="31">
                  <c:v>37483</c:v>
                </c:pt>
                <c:pt idx="32">
                  <c:v>37514</c:v>
                </c:pt>
                <c:pt idx="33">
                  <c:v>37544</c:v>
                </c:pt>
                <c:pt idx="34">
                  <c:v>37575</c:v>
                </c:pt>
                <c:pt idx="35">
                  <c:v>37605</c:v>
                </c:pt>
                <c:pt idx="36">
                  <c:v>37636</c:v>
                </c:pt>
                <c:pt idx="37">
                  <c:v>37667</c:v>
                </c:pt>
                <c:pt idx="38">
                  <c:v>37695</c:v>
                </c:pt>
                <c:pt idx="39">
                  <c:v>37726</c:v>
                </c:pt>
                <c:pt idx="40">
                  <c:v>37756</c:v>
                </c:pt>
                <c:pt idx="41">
                  <c:v>37787</c:v>
                </c:pt>
                <c:pt idx="42">
                  <c:v>37817</c:v>
                </c:pt>
                <c:pt idx="43">
                  <c:v>37848</c:v>
                </c:pt>
                <c:pt idx="44">
                  <c:v>37879</c:v>
                </c:pt>
                <c:pt idx="45">
                  <c:v>37909</c:v>
                </c:pt>
                <c:pt idx="46">
                  <c:v>37940</c:v>
                </c:pt>
                <c:pt idx="47">
                  <c:v>37970</c:v>
                </c:pt>
                <c:pt idx="48">
                  <c:v>38001</c:v>
                </c:pt>
                <c:pt idx="49">
                  <c:v>38032</c:v>
                </c:pt>
                <c:pt idx="50">
                  <c:v>38061</c:v>
                </c:pt>
                <c:pt idx="51">
                  <c:v>38092</c:v>
                </c:pt>
                <c:pt idx="52">
                  <c:v>38122</c:v>
                </c:pt>
                <c:pt idx="53">
                  <c:v>38153</c:v>
                </c:pt>
                <c:pt idx="54">
                  <c:v>38183</c:v>
                </c:pt>
                <c:pt idx="55">
                  <c:v>38214</c:v>
                </c:pt>
                <c:pt idx="56">
                  <c:v>38245</c:v>
                </c:pt>
                <c:pt idx="57">
                  <c:v>38275</c:v>
                </c:pt>
                <c:pt idx="58">
                  <c:v>38306</c:v>
                </c:pt>
                <c:pt idx="59">
                  <c:v>38336</c:v>
                </c:pt>
                <c:pt idx="60">
                  <c:v>38367</c:v>
                </c:pt>
                <c:pt idx="61">
                  <c:v>38398</c:v>
                </c:pt>
                <c:pt idx="62">
                  <c:v>38426</c:v>
                </c:pt>
                <c:pt idx="63">
                  <c:v>38457</c:v>
                </c:pt>
                <c:pt idx="64">
                  <c:v>38487</c:v>
                </c:pt>
                <c:pt idx="65">
                  <c:v>38518</c:v>
                </c:pt>
                <c:pt idx="66">
                  <c:v>38548</c:v>
                </c:pt>
                <c:pt idx="67">
                  <c:v>38579</c:v>
                </c:pt>
                <c:pt idx="68">
                  <c:v>38610</c:v>
                </c:pt>
                <c:pt idx="69">
                  <c:v>38640</c:v>
                </c:pt>
                <c:pt idx="70">
                  <c:v>38671</c:v>
                </c:pt>
                <c:pt idx="71">
                  <c:v>38701</c:v>
                </c:pt>
                <c:pt idx="72">
                  <c:v>38732</c:v>
                </c:pt>
                <c:pt idx="73">
                  <c:v>38763</c:v>
                </c:pt>
                <c:pt idx="74">
                  <c:v>38791</c:v>
                </c:pt>
                <c:pt idx="75">
                  <c:v>38822</c:v>
                </c:pt>
                <c:pt idx="76">
                  <c:v>38852</c:v>
                </c:pt>
                <c:pt idx="77">
                  <c:v>38883</c:v>
                </c:pt>
                <c:pt idx="78">
                  <c:v>38913</c:v>
                </c:pt>
                <c:pt idx="79">
                  <c:v>38944</c:v>
                </c:pt>
                <c:pt idx="80">
                  <c:v>38975</c:v>
                </c:pt>
                <c:pt idx="81">
                  <c:v>39005</c:v>
                </c:pt>
                <c:pt idx="82">
                  <c:v>39036</c:v>
                </c:pt>
                <c:pt idx="83">
                  <c:v>39066</c:v>
                </c:pt>
                <c:pt idx="84">
                  <c:v>39097</c:v>
                </c:pt>
                <c:pt idx="85">
                  <c:v>39128</c:v>
                </c:pt>
                <c:pt idx="86">
                  <c:v>39156</c:v>
                </c:pt>
                <c:pt idx="87">
                  <c:v>39187</c:v>
                </c:pt>
                <c:pt idx="88">
                  <c:v>39217</c:v>
                </c:pt>
                <c:pt idx="89">
                  <c:v>39248</c:v>
                </c:pt>
                <c:pt idx="90">
                  <c:v>39278</c:v>
                </c:pt>
                <c:pt idx="91">
                  <c:v>39309</c:v>
                </c:pt>
                <c:pt idx="92">
                  <c:v>39340</c:v>
                </c:pt>
                <c:pt idx="93">
                  <c:v>39370</c:v>
                </c:pt>
                <c:pt idx="94">
                  <c:v>39401</c:v>
                </c:pt>
                <c:pt idx="95">
                  <c:v>39431</c:v>
                </c:pt>
                <c:pt idx="96">
                  <c:v>39462</c:v>
                </c:pt>
                <c:pt idx="97">
                  <c:v>39493</c:v>
                </c:pt>
                <c:pt idx="98">
                  <c:v>39522</c:v>
                </c:pt>
                <c:pt idx="99">
                  <c:v>39553</c:v>
                </c:pt>
                <c:pt idx="100">
                  <c:v>39583</c:v>
                </c:pt>
                <c:pt idx="101">
                  <c:v>39614</c:v>
                </c:pt>
                <c:pt idx="102">
                  <c:v>39644</c:v>
                </c:pt>
                <c:pt idx="103">
                  <c:v>39675</c:v>
                </c:pt>
                <c:pt idx="104">
                  <c:v>39706</c:v>
                </c:pt>
                <c:pt idx="105">
                  <c:v>39736</c:v>
                </c:pt>
                <c:pt idx="106">
                  <c:v>39767</c:v>
                </c:pt>
                <c:pt idx="107">
                  <c:v>39797</c:v>
                </c:pt>
                <c:pt idx="108">
                  <c:v>39828</c:v>
                </c:pt>
                <c:pt idx="109">
                  <c:v>39859</c:v>
                </c:pt>
                <c:pt idx="110">
                  <c:v>39887</c:v>
                </c:pt>
                <c:pt idx="111">
                  <c:v>39918</c:v>
                </c:pt>
                <c:pt idx="112">
                  <c:v>39948</c:v>
                </c:pt>
                <c:pt idx="113">
                  <c:v>39979</c:v>
                </c:pt>
                <c:pt idx="114">
                  <c:v>40009</c:v>
                </c:pt>
                <c:pt idx="115">
                  <c:v>40040</c:v>
                </c:pt>
                <c:pt idx="116">
                  <c:v>40071</c:v>
                </c:pt>
                <c:pt idx="117">
                  <c:v>40101</c:v>
                </c:pt>
                <c:pt idx="118">
                  <c:v>40132</c:v>
                </c:pt>
                <c:pt idx="119">
                  <c:v>40162</c:v>
                </c:pt>
                <c:pt idx="120">
                  <c:v>40193</c:v>
                </c:pt>
                <c:pt idx="121">
                  <c:v>40224</c:v>
                </c:pt>
                <c:pt idx="122">
                  <c:v>40252</c:v>
                </c:pt>
                <c:pt idx="123">
                  <c:v>40283</c:v>
                </c:pt>
                <c:pt idx="124">
                  <c:v>40313</c:v>
                </c:pt>
                <c:pt idx="125">
                  <c:v>40344</c:v>
                </c:pt>
                <c:pt idx="126">
                  <c:v>40374</c:v>
                </c:pt>
                <c:pt idx="127">
                  <c:v>40405</c:v>
                </c:pt>
                <c:pt idx="128">
                  <c:v>40436</c:v>
                </c:pt>
                <c:pt idx="129">
                  <c:v>40466</c:v>
                </c:pt>
                <c:pt idx="130">
                  <c:v>40497</c:v>
                </c:pt>
                <c:pt idx="131">
                  <c:v>40527</c:v>
                </c:pt>
                <c:pt idx="132">
                  <c:v>40558</c:v>
                </c:pt>
                <c:pt idx="133">
                  <c:v>40589</c:v>
                </c:pt>
                <c:pt idx="134">
                  <c:v>40617</c:v>
                </c:pt>
                <c:pt idx="135">
                  <c:v>40648</c:v>
                </c:pt>
                <c:pt idx="136">
                  <c:v>40678</c:v>
                </c:pt>
                <c:pt idx="137">
                  <c:v>40709</c:v>
                </c:pt>
                <c:pt idx="138">
                  <c:v>40739</c:v>
                </c:pt>
                <c:pt idx="139">
                  <c:v>40770</c:v>
                </c:pt>
                <c:pt idx="140">
                  <c:v>40801</c:v>
                </c:pt>
                <c:pt idx="141">
                  <c:v>40831</c:v>
                </c:pt>
                <c:pt idx="142">
                  <c:v>40862</c:v>
                </c:pt>
                <c:pt idx="143">
                  <c:v>40892</c:v>
                </c:pt>
                <c:pt idx="144">
                  <c:v>40923</c:v>
                </c:pt>
                <c:pt idx="145">
                  <c:v>40954</c:v>
                </c:pt>
                <c:pt idx="146">
                  <c:v>40983</c:v>
                </c:pt>
                <c:pt idx="147">
                  <c:v>41014</c:v>
                </c:pt>
                <c:pt idx="148">
                  <c:v>41044</c:v>
                </c:pt>
                <c:pt idx="149">
                  <c:v>41075</c:v>
                </c:pt>
                <c:pt idx="150">
                  <c:v>41105</c:v>
                </c:pt>
                <c:pt idx="151">
                  <c:v>41136</c:v>
                </c:pt>
                <c:pt idx="152">
                  <c:v>41167</c:v>
                </c:pt>
                <c:pt idx="153">
                  <c:v>41197</c:v>
                </c:pt>
                <c:pt idx="154">
                  <c:v>41228</c:v>
                </c:pt>
                <c:pt idx="155">
                  <c:v>41258</c:v>
                </c:pt>
                <c:pt idx="156">
                  <c:v>41289</c:v>
                </c:pt>
                <c:pt idx="157">
                  <c:v>41320</c:v>
                </c:pt>
                <c:pt idx="158">
                  <c:v>41348</c:v>
                </c:pt>
                <c:pt idx="159">
                  <c:v>41379</c:v>
                </c:pt>
                <c:pt idx="160">
                  <c:v>41409</c:v>
                </c:pt>
                <c:pt idx="161">
                  <c:v>41440</c:v>
                </c:pt>
                <c:pt idx="162">
                  <c:v>41470</c:v>
                </c:pt>
                <c:pt idx="163">
                  <c:v>41501</c:v>
                </c:pt>
                <c:pt idx="164">
                  <c:v>41532</c:v>
                </c:pt>
                <c:pt idx="165">
                  <c:v>41562</c:v>
                </c:pt>
                <c:pt idx="166">
                  <c:v>41593</c:v>
                </c:pt>
                <c:pt idx="167">
                  <c:v>41623</c:v>
                </c:pt>
                <c:pt idx="168">
                  <c:v>41654</c:v>
                </c:pt>
                <c:pt idx="169">
                  <c:v>41685</c:v>
                </c:pt>
                <c:pt idx="170">
                  <c:v>41713</c:v>
                </c:pt>
                <c:pt idx="171">
                  <c:v>41744</c:v>
                </c:pt>
                <c:pt idx="172">
                  <c:v>41774</c:v>
                </c:pt>
                <c:pt idx="173">
                  <c:v>41805</c:v>
                </c:pt>
                <c:pt idx="174">
                  <c:v>41835</c:v>
                </c:pt>
                <c:pt idx="175">
                  <c:v>41866</c:v>
                </c:pt>
                <c:pt idx="176">
                  <c:v>41897</c:v>
                </c:pt>
                <c:pt idx="177">
                  <c:v>41927</c:v>
                </c:pt>
                <c:pt idx="178">
                  <c:v>41958</c:v>
                </c:pt>
                <c:pt idx="179">
                  <c:v>41988</c:v>
                </c:pt>
                <c:pt idx="180">
                  <c:v>42019</c:v>
                </c:pt>
                <c:pt idx="181">
                  <c:v>42050</c:v>
                </c:pt>
                <c:pt idx="182">
                  <c:v>42078</c:v>
                </c:pt>
                <c:pt idx="183">
                  <c:v>42109</c:v>
                </c:pt>
                <c:pt idx="184">
                  <c:v>42139</c:v>
                </c:pt>
                <c:pt idx="185">
                  <c:v>42170</c:v>
                </c:pt>
                <c:pt idx="186">
                  <c:v>42200</c:v>
                </c:pt>
                <c:pt idx="187">
                  <c:v>42231</c:v>
                </c:pt>
                <c:pt idx="188">
                  <c:v>42262</c:v>
                </c:pt>
                <c:pt idx="189">
                  <c:v>42292</c:v>
                </c:pt>
                <c:pt idx="190">
                  <c:v>42323</c:v>
                </c:pt>
                <c:pt idx="191">
                  <c:v>42353</c:v>
                </c:pt>
                <c:pt idx="192">
                  <c:v>42384</c:v>
                </c:pt>
                <c:pt idx="193">
                  <c:v>42415</c:v>
                </c:pt>
                <c:pt idx="194">
                  <c:v>42444</c:v>
                </c:pt>
                <c:pt idx="195">
                  <c:v>42475</c:v>
                </c:pt>
                <c:pt idx="196">
                  <c:v>42505</c:v>
                </c:pt>
                <c:pt idx="197">
                  <c:v>42536</c:v>
                </c:pt>
                <c:pt idx="198">
                  <c:v>42566</c:v>
                </c:pt>
                <c:pt idx="199">
                  <c:v>42597</c:v>
                </c:pt>
                <c:pt idx="200">
                  <c:v>42628</c:v>
                </c:pt>
                <c:pt idx="201">
                  <c:v>42658</c:v>
                </c:pt>
                <c:pt idx="202">
                  <c:v>42689</c:v>
                </c:pt>
                <c:pt idx="203">
                  <c:v>42719</c:v>
                </c:pt>
                <c:pt idx="204">
                  <c:v>42750</c:v>
                </c:pt>
                <c:pt idx="205">
                  <c:v>42781</c:v>
                </c:pt>
                <c:pt idx="206">
                  <c:v>42809</c:v>
                </c:pt>
                <c:pt idx="207">
                  <c:v>42840</c:v>
                </c:pt>
                <c:pt idx="208">
                  <c:v>42870</c:v>
                </c:pt>
                <c:pt idx="209">
                  <c:v>42901</c:v>
                </c:pt>
                <c:pt idx="210">
                  <c:v>42931</c:v>
                </c:pt>
                <c:pt idx="211">
                  <c:v>42962</c:v>
                </c:pt>
                <c:pt idx="212">
                  <c:v>42993</c:v>
                </c:pt>
                <c:pt idx="213">
                  <c:v>43023</c:v>
                </c:pt>
                <c:pt idx="214">
                  <c:v>43054</c:v>
                </c:pt>
                <c:pt idx="215">
                  <c:v>43084</c:v>
                </c:pt>
                <c:pt idx="216">
                  <c:v>43115</c:v>
                </c:pt>
                <c:pt idx="217">
                  <c:v>43146</c:v>
                </c:pt>
                <c:pt idx="218">
                  <c:v>43174</c:v>
                </c:pt>
                <c:pt idx="219">
                  <c:v>43205</c:v>
                </c:pt>
                <c:pt idx="220">
                  <c:v>43235</c:v>
                </c:pt>
                <c:pt idx="221">
                  <c:v>43266</c:v>
                </c:pt>
                <c:pt idx="222">
                  <c:v>43296</c:v>
                </c:pt>
                <c:pt idx="223">
                  <c:v>43327</c:v>
                </c:pt>
                <c:pt idx="224">
                  <c:v>43358</c:v>
                </c:pt>
                <c:pt idx="225">
                  <c:v>43388</c:v>
                </c:pt>
                <c:pt idx="226">
                  <c:v>43419</c:v>
                </c:pt>
                <c:pt idx="227">
                  <c:v>43449</c:v>
                </c:pt>
                <c:pt idx="228">
                  <c:v>43480</c:v>
                </c:pt>
                <c:pt idx="229">
                  <c:v>43511</c:v>
                </c:pt>
                <c:pt idx="230">
                  <c:v>43539</c:v>
                </c:pt>
                <c:pt idx="231">
                  <c:v>43570</c:v>
                </c:pt>
                <c:pt idx="232">
                  <c:v>43600</c:v>
                </c:pt>
                <c:pt idx="233">
                  <c:v>43631</c:v>
                </c:pt>
                <c:pt idx="234">
                  <c:v>43661</c:v>
                </c:pt>
                <c:pt idx="235">
                  <c:v>43692</c:v>
                </c:pt>
                <c:pt idx="236">
                  <c:v>43723</c:v>
                </c:pt>
                <c:pt idx="237">
                  <c:v>43753</c:v>
                </c:pt>
                <c:pt idx="238">
                  <c:v>43784</c:v>
                </c:pt>
                <c:pt idx="239">
                  <c:v>43814</c:v>
                </c:pt>
                <c:pt idx="240">
                  <c:v>43845</c:v>
                </c:pt>
                <c:pt idx="241">
                  <c:v>43876</c:v>
                </c:pt>
                <c:pt idx="242">
                  <c:v>43905</c:v>
                </c:pt>
                <c:pt idx="243">
                  <c:v>43936</c:v>
                </c:pt>
                <c:pt idx="244">
                  <c:v>43966</c:v>
                </c:pt>
                <c:pt idx="245">
                  <c:v>43997</c:v>
                </c:pt>
                <c:pt idx="246">
                  <c:v>44027</c:v>
                </c:pt>
                <c:pt idx="247">
                  <c:v>44058</c:v>
                </c:pt>
                <c:pt idx="248">
                  <c:v>44089</c:v>
                </c:pt>
                <c:pt idx="249">
                  <c:v>44119</c:v>
                </c:pt>
                <c:pt idx="250">
                  <c:v>44150</c:v>
                </c:pt>
                <c:pt idx="251">
                  <c:v>44180</c:v>
                </c:pt>
                <c:pt idx="252">
                  <c:v>44211</c:v>
                </c:pt>
                <c:pt idx="253">
                  <c:v>44242</c:v>
                </c:pt>
                <c:pt idx="254">
                  <c:v>44270</c:v>
                </c:pt>
                <c:pt idx="255">
                  <c:v>44301</c:v>
                </c:pt>
                <c:pt idx="256">
                  <c:v>44331</c:v>
                </c:pt>
                <c:pt idx="257">
                  <c:v>44362</c:v>
                </c:pt>
                <c:pt idx="258">
                  <c:v>44392</c:v>
                </c:pt>
                <c:pt idx="259">
                  <c:v>44423</c:v>
                </c:pt>
                <c:pt idx="260">
                  <c:v>44454</c:v>
                </c:pt>
                <c:pt idx="261">
                  <c:v>44484</c:v>
                </c:pt>
                <c:pt idx="262">
                  <c:v>44515</c:v>
                </c:pt>
                <c:pt idx="263">
                  <c:v>44545</c:v>
                </c:pt>
                <c:pt idx="264">
                  <c:v>44576</c:v>
                </c:pt>
                <c:pt idx="265">
                  <c:v>44607</c:v>
                </c:pt>
                <c:pt idx="266">
                  <c:v>44635</c:v>
                </c:pt>
                <c:pt idx="267">
                  <c:v>44666</c:v>
                </c:pt>
                <c:pt idx="268">
                  <c:v>44696</c:v>
                </c:pt>
                <c:pt idx="269">
                  <c:v>44727</c:v>
                </c:pt>
                <c:pt idx="270">
                  <c:v>44757</c:v>
                </c:pt>
                <c:pt idx="271">
                  <c:v>44788</c:v>
                </c:pt>
                <c:pt idx="272">
                  <c:v>44819</c:v>
                </c:pt>
                <c:pt idx="273">
                  <c:v>44849</c:v>
                </c:pt>
                <c:pt idx="274">
                  <c:v>44880</c:v>
                </c:pt>
                <c:pt idx="275">
                  <c:v>44910</c:v>
                </c:pt>
                <c:pt idx="276">
                  <c:v>44941</c:v>
                </c:pt>
                <c:pt idx="277">
                  <c:v>44972</c:v>
                </c:pt>
              </c:numCache>
            </c:numRef>
          </c:cat>
          <c:val>
            <c:numRef>
              <c:f>Tabelle1!$F$9:$F$500</c:f>
              <c:numCache>
                <c:formatCode>General</c:formatCode>
                <c:ptCount val="492"/>
                <c:pt idx="0">
                  <c:v>52.7</c:v>
                </c:pt>
                <c:pt idx="1">
                  <c:v>53.6</c:v>
                </c:pt>
                <c:pt idx="2">
                  <c:v>56.3</c:v>
                </c:pt>
                <c:pt idx="3">
                  <c:v>58.4</c:v>
                </c:pt>
                <c:pt idx="4">
                  <c:v>56.5</c:v>
                </c:pt>
                <c:pt idx="5">
                  <c:v>55.2</c:v>
                </c:pt>
                <c:pt idx="6">
                  <c:v>55.5</c:v>
                </c:pt>
                <c:pt idx="7">
                  <c:v>55.6</c:v>
                </c:pt>
                <c:pt idx="8">
                  <c:v>55.6</c:v>
                </c:pt>
                <c:pt idx="9">
                  <c:v>54</c:v>
                </c:pt>
                <c:pt idx="10">
                  <c:v>53.6</c:v>
                </c:pt>
                <c:pt idx="11">
                  <c:v>52.2</c:v>
                </c:pt>
                <c:pt idx="12">
                  <c:v>50.4</c:v>
                </c:pt>
                <c:pt idx="13">
                  <c:v>48.9</c:v>
                </c:pt>
                <c:pt idx="14">
                  <c:v>50.3</c:v>
                </c:pt>
                <c:pt idx="15">
                  <c:v>50.1</c:v>
                </c:pt>
                <c:pt idx="16">
                  <c:v>47.5</c:v>
                </c:pt>
                <c:pt idx="17">
                  <c:v>46.1</c:v>
                </c:pt>
                <c:pt idx="18">
                  <c:v>46.7</c:v>
                </c:pt>
                <c:pt idx="19">
                  <c:v>48.1</c:v>
                </c:pt>
                <c:pt idx="20">
                  <c:v>45.2</c:v>
                </c:pt>
                <c:pt idx="21">
                  <c:v>44</c:v>
                </c:pt>
                <c:pt idx="22">
                  <c:v>43.3</c:v>
                </c:pt>
                <c:pt idx="23">
                  <c:v>43.7</c:v>
                </c:pt>
                <c:pt idx="24">
                  <c:v>44.7</c:v>
                </c:pt>
                <c:pt idx="25">
                  <c:v>45.9</c:v>
                </c:pt>
                <c:pt idx="26">
                  <c:v>47.1</c:v>
                </c:pt>
                <c:pt idx="27">
                  <c:v>50.1</c:v>
                </c:pt>
                <c:pt idx="28">
                  <c:v>51.3</c:v>
                </c:pt>
                <c:pt idx="29">
                  <c:v>52.1</c:v>
                </c:pt>
                <c:pt idx="30">
                  <c:v>51.6</c:v>
                </c:pt>
                <c:pt idx="31">
                  <c:v>50.6</c:v>
                </c:pt>
                <c:pt idx="32">
                  <c:v>50.8</c:v>
                </c:pt>
                <c:pt idx="33">
                  <c:v>51.2</c:v>
                </c:pt>
                <c:pt idx="34">
                  <c:v>50</c:v>
                </c:pt>
                <c:pt idx="35">
                  <c:v>49</c:v>
                </c:pt>
                <c:pt idx="36">
                  <c:v>50.3</c:v>
                </c:pt>
                <c:pt idx="37">
                  <c:v>51.3</c:v>
                </c:pt>
                <c:pt idx="38">
                  <c:v>51.1</c:v>
                </c:pt>
                <c:pt idx="39">
                  <c:v>51.8</c:v>
                </c:pt>
                <c:pt idx="40">
                  <c:v>51.5</c:v>
                </c:pt>
                <c:pt idx="41">
                  <c:v>51.7</c:v>
                </c:pt>
                <c:pt idx="42">
                  <c:v>52.5</c:v>
                </c:pt>
                <c:pt idx="43">
                  <c:v>53.3</c:v>
                </c:pt>
                <c:pt idx="44">
                  <c:v>54.4</c:v>
                </c:pt>
                <c:pt idx="45">
                  <c:v>54.3</c:v>
                </c:pt>
                <c:pt idx="46">
                  <c:v>54.2</c:v>
                </c:pt>
                <c:pt idx="47">
                  <c:v>55.3</c:v>
                </c:pt>
                <c:pt idx="48">
                  <c:v>55.1</c:v>
                </c:pt>
                <c:pt idx="49">
                  <c:v>54.4</c:v>
                </c:pt>
                <c:pt idx="50">
                  <c:v>54.7</c:v>
                </c:pt>
                <c:pt idx="51">
                  <c:v>53.9</c:v>
                </c:pt>
                <c:pt idx="52">
                  <c:v>54.6</c:v>
                </c:pt>
                <c:pt idx="53">
                  <c:v>55.5</c:v>
                </c:pt>
                <c:pt idx="54">
                  <c:v>55.6</c:v>
                </c:pt>
                <c:pt idx="55">
                  <c:v>54.4</c:v>
                </c:pt>
                <c:pt idx="56">
                  <c:v>54.3</c:v>
                </c:pt>
                <c:pt idx="57">
                  <c:v>52.6</c:v>
                </c:pt>
                <c:pt idx="58">
                  <c:v>52.5</c:v>
                </c:pt>
                <c:pt idx="59">
                  <c:v>53.1</c:v>
                </c:pt>
                <c:pt idx="60">
                  <c:v>52</c:v>
                </c:pt>
                <c:pt idx="61">
                  <c:v>51.8</c:v>
                </c:pt>
                <c:pt idx="62">
                  <c:v>51</c:v>
                </c:pt>
                <c:pt idx="63">
                  <c:v>49.7</c:v>
                </c:pt>
                <c:pt idx="64">
                  <c:v>49.5</c:v>
                </c:pt>
                <c:pt idx="65">
                  <c:v>50.6</c:v>
                </c:pt>
                <c:pt idx="66">
                  <c:v>51.6</c:v>
                </c:pt>
                <c:pt idx="67">
                  <c:v>49.8</c:v>
                </c:pt>
                <c:pt idx="68">
                  <c:v>50.9</c:v>
                </c:pt>
                <c:pt idx="69">
                  <c:v>52.5</c:v>
                </c:pt>
                <c:pt idx="70">
                  <c:v>53.8</c:v>
                </c:pt>
                <c:pt idx="71">
                  <c:v>55.5</c:v>
                </c:pt>
                <c:pt idx="72">
                  <c:v>55.5</c:v>
                </c:pt>
                <c:pt idx="73">
                  <c:v>54.5</c:v>
                </c:pt>
                <c:pt idx="74">
                  <c:v>56.5</c:v>
                </c:pt>
                <c:pt idx="75">
                  <c:v>58.3</c:v>
                </c:pt>
                <c:pt idx="76">
                  <c:v>56.7</c:v>
                </c:pt>
                <c:pt idx="77">
                  <c:v>58</c:v>
                </c:pt>
                <c:pt idx="78">
                  <c:v>57.1</c:v>
                </c:pt>
                <c:pt idx="79">
                  <c:v>56.3</c:v>
                </c:pt>
                <c:pt idx="80">
                  <c:v>58.2</c:v>
                </c:pt>
                <c:pt idx="81">
                  <c:v>58</c:v>
                </c:pt>
                <c:pt idx="82">
                  <c:v>58.9</c:v>
                </c:pt>
                <c:pt idx="83">
                  <c:v>57.7</c:v>
                </c:pt>
                <c:pt idx="84">
                  <c:v>56</c:v>
                </c:pt>
                <c:pt idx="85">
                  <c:v>57.8</c:v>
                </c:pt>
                <c:pt idx="86">
                  <c:v>55.6</c:v>
                </c:pt>
                <c:pt idx="87">
                  <c:v>52.9</c:v>
                </c:pt>
                <c:pt idx="88">
                  <c:v>54.1</c:v>
                </c:pt>
                <c:pt idx="89">
                  <c:v>53.5</c:v>
                </c:pt>
                <c:pt idx="90">
                  <c:v>53.8</c:v>
                </c:pt>
                <c:pt idx="91">
                  <c:v>54.5</c:v>
                </c:pt>
                <c:pt idx="92">
                  <c:v>55.4</c:v>
                </c:pt>
                <c:pt idx="93">
                  <c:v>52.8</c:v>
                </c:pt>
                <c:pt idx="94">
                  <c:v>55</c:v>
                </c:pt>
                <c:pt idx="95">
                  <c:v>53.2</c:v>
                </c:pt>
                <c:pt idx="96">
                  <c:v>54.1</c:v>
                </c:pt>
                <c:pt idx="97">
                  <c:v>52.4</c:v>
                </c:pt>
                <c:pt idx="98">
                  <c:v>53.4</c:v>
                </c:pt>
                <c:pt idx="99">
                  <c:v>49.8</c:v>
                </c:pt>
                <c:pt idx="100">
                  <c:v>49.8</c:v>
                </c:pt>
                <c:pt idx="101">
                  <c:v>48.4</c:v>
                </c:pt>
                <c:pt idx="102">
                  <c:v>47</c:v>
                </c:pt>
                <c:pt idx="103">
                  <c:v>48.6</c:v>
                </c:pt>
                <c:pt idx="104">
                  <c:v>46</c:v>
                </c:pt>
                <c:pt idx="105">
                  <c:v>43.4</c:v>
                </c:pt>
                <c:pt idx="106">
                  <c:v>38.299999999999997</c:v>
                </c:pt>
                <c:pt idx="107">
                  <c:v>35</c:v>
                </c:pt>
                <c:pt idx="108">
                  <c:v>33.1</c:v>
                </c:pt>
                <c:pt idx="109">
                  <c:v>34.6</c:v>
                </c:pt>
                <c:pt idx="110">
                  <c:v>33.700000000000003</c:v>
                </c:pt>
                <c:pt idx="111">
                  <c:v>39</c:v>
                </c:pt>
                <c:pt idx="112">
                  <c:v>39.299999999999997</c:v>
                </c:pt>
                <c:pt idx="113">
                  <c:v>42</c:v>
                </c:pt>
                <c:pt idx="114">
                  <c:v>46.5</c:v>
                </c:pt>
                <c:pt idx="115">
                  <c:v>49.9</c:v>
                </c:pt>
                <c:pt idx="116">
                  <c:v>50.3</c:v>
                </c:pt>
                <c:pt idx="117">
                  <c:v>51.1</c:v>
                </c:pt>
                <c:pt idx="118">
                  <c:v>49.9</c:v>
                </c:pt>
                <c:pt idx="119">
                  <c:v>50.8</c:v>
                </c:pt>
                <c:pt idx="120">
                  <c:v>51.8</c:v>
                </c:pt>
                <c:pt idx="121">
                  <c:v>55.4</c:v>
                </c:pt>
                <c:pt idx="122">
                  <c:v>56.7</c:v>
                </c:pt>
                <c:pt idx="123">
                  <c:v>60.3</c:v>
                </c:pt>
                <c:pt idx="124">
                  <c:v>58.2</c:v>
                </c:pt>
                <c:pt idx="125">
                  <c:v>59</c:v>
                </c:pt>
                <c:pt idx="126">
                  <c:v>58.9</c:v>
                </c:pt>
                <c:pt idx="127">
                  <c:v>55.9</c:v>
                </c:pt>
                <c:pt idx="128">
                  <c:v>56.1</c:v>
                </c:pt>
                <c:pt idx="129">
                  <c:v>56</c:v>
                </c:pt>
                <c:pt idx="130">
                  <c:v>55.2</c:v>
                </c:pt>
                <c:pt idx="131">
                  <c:v>57.7</c:v>
                </c:pt>
                <c:pt idx="132">
                  <c:v>60.3</c:v>
                </c:pt>
                <c:pt idx="133">
                  <c:v>61.9</c:v>
                </c:pt>
                <c:pt idx="134">
                  <c:v>60.6</c:v>
                </c:pt>
                <c:pt idx="135">
                  <c:v>57</c:v>
                </c:pt>
                <c:pt idx="136">
                  <c:v>55.6</c:v>
                </c:pt>
                <c:pt idx="137">
                  <c:v>53</c:v>
                </c:pt>
                <c:pt idx="138">
                  <c:v>50.8</c:v>
                </c:pt>
                <c:pt idx="139">
                  <c:v>50.1</c:v>
                </c:pt>
                <c:pt idx="140">
                  <c:v>48.7</c:v>
                </c:pt>
                <c:pt idx="141">
                  <c:v>48</c:v>
                </c:pt>
                <c:pt idx="142">
                  <c:v>47.6</c:v>
                </c:pt>
                <c:pt idx="143">
                  <c:v>49</c:v>
                </c:pt>
                <c:pt idx="144">
                  <c:v>51.8</c:v>
                </c:pt>
                <c:pt idx="145">
                  <c:v>52</c:v>
                </c:pt>
                <c:pt idx="146">
                  <c:v>51.5</c:v>
                </c:pt>
                <c:pt idx="147">
                  <c:v>51.2</c:v>
                </c:pt>
                <c:pt idx="148">
                  <c:v>50.2</c:v>
                </c:pt>
                <c:pt idx="149">
                  <c:v>50.1</c:v>
                </c:pt>
                <c:pt idx="150">
                  <c:v>47.4</c:v>
                </c:pt>
                <c:pt idx="151">
                  <c:v>46.7</c:v>
                </c:pt>
                <c:pt idx="152">
                  <c:v>45.1</c:v>
                </c:pt>
                <c:pt idx="153">
                  <c:v>44.8</c:v>
                </c:pt>
                <c:pt idx="154">
                  <c:v>49.3</c:v>
                </c:pt>
                <c:pt idx="155">
                  <c:v>48.1</c:v>
                </c:pt>
                <c:pt idx="156">
                  <c:v>48.6</c:v>
                </c:pt>
                <c:pt idx="157">
                  <c:v>48.3</c:v>
                </c:pt>
                <c:pt idx="158">
                  <c:v>48.1</c:v>
                </c:pt>
                <c:pt idx="159">
                  <c:v>47.8</c:v>
                </c:pt>
                <c:pt idx="160">
                  <c:v>48.2</c:v>
                </c:pt>
                <c:pt idx="161">
                  <c:v>48.3</c:v>
                </c:pt>
                <c:pt idx="162">
                  <c:v>49.1</c:v>
                </c:pt>
                <c:pt idx="163">
                  <c:v>52</c:v>
                </c:pt>
                <c:pt idx="164">
                  <c:v>51.1</c:v>
                </c:pt>
                <c:pt idx="165">
                  <c:v>52.7</c:v>
                </c:pt>
                <c:pt idx="166">
                  <c:v>54.3</c:v>
                </c:pt>
                <c:pt idx="167">
                  <c:v>54.1</c:v>
                </c:pt>
                <c:pt idx="168">
                  <c:v>54.1</c:v>
                </c:pt>
                <c:pt idx="169">
                  <c:v>53</c:v>
                </c:pt>
                <c:pt idx="170">
                  <c:v>51</c:v>
                </c:pt>
                <c:pt idx="171">
                  <c:v>51.4</c:v>
                </c:pt>
                <c:pt idx="172">
                  <c:v>50.9</c:v>
                </c:pt>
                <c:pt idx="173">
                  <c:v>50.4</c:v>
                </c:pt>
                <c:pt idx="174">
                  <c:v>50.9</c:v>
                </c:pt>
                <c:pt idx="175">
                  <c:v>50.9</c:v>
                </c:pt>
                <c:pt idx="176">
                  <c:v>47.9</c:v>
                </c:pt>
                <c:pt idx="177">
                  <c:v>46.9</c:v>
                </c:pt>
                <c:pt idx="178">
                  <c:v>47.4</c:v>
                </c:pt>
                <c:pt idx="179">
                  <c:v>49.2</c:v>
                </c:pt>
                <c:pt idx="180">
                  <c:v>48.5</c:v>
                </c:pt>
                <c:pt idx="181">
                  <c:v>48.7</c:v>
                </c:pt>
                <c:pt idx="182">
                  <c:v>47.7</c:v>
                </c:pt>
                <c:pt idx="183">
                  <c:v>50.1</c:v>
                </c:pt>
                <c:pt idx="184">
                  <c:v>50.3</c:v>
                </c:pt>
                <c:pt idx="185">
                  <c:v>51.2</c:v>
                </c:pt>
                <c:pt idx="186">
                  <c:v>52.4</c:v>
                </c:pt>
                <c:pt idx="187">
                  <c:v>50.5</c:v>
                </c:pt>
                <c:pt idx="188">
                  <c:v>52.5</c:v>
                </c:pt>
                <c:pt idx="189">
                  <c:v>53</c:v>
                </c:pt>
                <c:pt idx="190">
                  <c:v>51.4</c:v>
                </c:pt>
                <c:pt idx="191">
                  <c:v>50.6</c:v>
                </c:pt>
                <c:pt idx="192">
                  <c:v>51.2</c:v>
                </c:pt>
                <c:pt idx="193">
                  <c:v>51.9</c:v>
                </c:pt>
                <c:pt idx="194">
                  <c:v>52.8</c:v>
                </c:pt>
                <c:pt idx="195">
                  <c:v>52</c:v>
                </c:pt>
                <c:pt idx="196">
                  <c:v>52</c:v>
                </c:pt>
                <c:pt idx="197">
                  <c:v>54.5</c:v>
                </c:pt>
                <c:pt idx="198">
                  <c:v>53.4</c:v>
                </c:pt>
                <c:pt idx="199">
                  <c:v>52.1</c:v>
                </c:pt>
                <c:pt idx="200">
                  <c:v>53.5</c:v>
                </c:pt>
                <c:pt idx="201">
                  <c:v>53.9</c:v>
                </c:pt>
                <c:pt idx="202">
                  <c:v>55.4</c:v>
                </c:pt>
                <c:pt idx="203">
                  <c:v>56.3</c:v>
                </c:pt>
                <c:pt idx="204">
                  <c:v>57.3</c:v>
                </c:pt>
                <c:pt idx="205">
                  <c:v>57.2</c:v>
                </c:pt>
                <c:pt idx="206">
                  <c:v>56.8</c:v>
                </c:pt>
                <c:pt idx="207">
                  <c:v>58.1</c:v>
                </c:pt>
                <c:pt idx="208">
                  <c:v>58</c:v>
                </c:pt>
                <c:pt idx="209">
                  <c:v>60.7</c:v>
                </c:pt>
                <c:pt idx="210">
                  <c:v>60</c:v>
                </c:pt>
                <c:pt idx="211">
                  <c:v>61.1</c:v>
                </c:pt>
                <c:pt idx="212">
                  <c:v>59.4</c:v>
                </c:pt>
                <c:pt idx="213">
                  <c:v>59.4</c:v>
                </c:pt>
                <c:pt idx="214">
                  <c:v>61.9</c:v>
                </c:pt>
                <c:pt idx="215">
                  <c:v>64.3</c:v>
                </c:pt>
                <c:pt idx="216">
                  <c:v>61.3</c:v>
                </c:pt>
                <c:pt idx="217">
                  <c:v>59.2</c:v>
                </c:pt>
                <c:pt idx="218">
                  <c:v>58</c:v>
                </c:pt>
                <c:pt idx="219">
                  <c:v>58</c:v>
                </c:pt>
                <c:pt idx="220">
                  <c:v>57.3</c:v>
                </c:pt>
                <c:pt idx="221">
                  <c:v>56.6</c:v>
                </c:pt>
                <c:pt idx="222">
                  <c:v>56.8</c:v>
                </c:pt>
                <c:pt idx="223">
                  <c:v>56.4</c:v>
                </c:pt>
                <c:pt idx="224">
                  <c:v>55</c:v>
                </c:pt>
                <c:pt idx="225">
                  <c:v>53.8</c:v>
                </c:pt>
                <c:pt idx="226">
                  <c:v>54.9</c:v>
                </c:pt>
                <c:pt idx="227">
                  <c:v>53.9</c:v>
                </c:pt>
                <c:pt idx="228">
                  <c:v>52.7</c:v>
                </c:pt>
                <c:pt idx="229">
                  <c:v>51.8</c:v>
                </c:pt>
                <c:pt idx="230">
                  <c:v>50</c:v>
                </c:pt>
                <c:pt idx="231">
                  <c:v>49.2</c:v>
                </c:pt>
                <c:pt idx="232">
                  <c:v>48.3</c:v>
                </c:pt>
                <c:pt idx="233">
                  <c:v>47.5</c:v>
                </c:pt>
                <c:pt idx="234">
                  <c:v>47</c:v>
                </c:pt>
                <c:pt idx="235">
                  <c:v>47.9</c:v>
                </c:pt>
                <c:pt idx="236">
                  <c:v>45.1</c:v>
                </c:pt>
                <c:pt idx="237">
                  <c:v>45.5</c:v>
                </c:pt>
                <c:pt idx="238">
                  <c:v>46</c:v>
                </c:pt>
                <c:pt idx="239">
                  <c:v>46</c:v>
                </c:pt>
                <c:pt idx="240">
                  <c:v>49.2</c:v>
                </c:pt>
                <c:pt idx="241">
                  <c:v>50.2</c:v>
                </c:pt>
                <c:pt idx="242">
                  <c:v>45.8</c:v>
                </c:pt>
                <c:pt idx="243">
                  <c:v>31.6</c:v>
                </c:pt>
                <c:pt idx="244">
                  <c:v>40.4</c:v>
                </c:pt>
                <c:pt idx="245">
                  <c:v>46.5</c:v>
                </c:pt>
                <c:pt idx="246">
                  <c:v>52.8</c:v>
                </c:pt>
                <c:pt idx="247">
                  <c:v>51</c:v>
                </c:pt>
                <c:pt idx="248">
                  <c:v>51.7</c:v>
                </c:pt>
                <c:pt idx="249">
                  <c:v>54</c:v>
                </c:pt>
                <c:pt idx="250">
                  <c:v>51.7</c:v>
                </c:pt>
                <c:pt idx="251">
                  <c:v>53.5</c:v>
                </c:pt>
                <c:pt idx="252">
                  <c:v>54.2</c:v>
                </c:pt>
                <c:pt idx="253">
                  <c:v>58.3</c:v>
                </c:pt>
                <c:pt idx="254">
                  <c:v>63.4</c:v>
                </c:pt>
                <c:pt idx="255">
                  <c:v>64.7</c:v>
                </c:pt>
                <c:pt idx="256">
                  <c:v>66.400000000000006</c:v>
                </c:pt>
                <c:pt idx="257">
                  <c:v>67</c:v>
                </c:pt>
                <c:pt idx="258">
                  <c:v>63.9</c:v>
                </c:pt>
                <c:pt idx="259">
                  <c:v>61.8</c:v>
                </c:pt>
                <c:pt idx="260">
                  <c:v>62.8</c:v>
                </c:pt>
                <c:pt idx="261">
                  <c:v>60.6</c:v>
                </c:pt>
                <c:pt idx="262">
                  <c:v>58.1</c:v>
                </c:pt>
                <c:pt idx="263">
                  <c:v>58.7</c:v>
                </c:pt>
                <c:pt idx="264">
                  <c:v>61.5</c:v>
                </c:pt>
                <c:pt idx="265">
                  <c:v>58.4</c:v>
                </c:pt>
                <c:pt idx="266">
                  <c:v>59.3</c:v>
                </c:pt>
                <c:pt idx="267">
                  <c:v>57.9</c:v>
                </c:pt>
                <c:pt idx="268">
                  <c:v>56.6</c:v>
                </c:pt>
                <c:pt idx="269">
                  <c:v>51.2</c:v>
                </c:pt>
                <c:pt idx="270">
                  <c:v>51.7</c:v>
                </c:pt>
                <c:pt idx="271">
                  <c:v>48.8</c:v>
                </c:pt>
                <c:pt idx="272">
                  <c:v>48.8</c:v>
                </c:pt>
                <c:pt idx="273">
                  <c:v>46.6</c:v>
                </c:pt>
                <c:pt idx="274">
                  <c:v>46.6</c:v>
                </c:pt>
                <c:pt idx="275">
                  <c:v>47.3</c:v>
                </c:pt>
                <c:pt idx="276">
                  <c:v>#N/A</c:v>
                </c:pt>
                <c:pt idx="277">
                  <c:v>#N/A</c:v>
                </c:pt>
              </c:numCache>
            </c:numRef>
          </c:val>
          <c:smooth val="0"/>
          <c:extLst>
            <c:ext xmlns:c16="http://schemas.microsoft.com/office/drawing/2014/chart" uri="{C3380CC4-5D6E-409C-BE32-E72D297353CC}">
              <c16:uniqueId val="{00000003-DC6A-48CE-80B7-E776B228A50B}"/>
            </c:ext>
          </c:extLst>
        </c:ser>
        <c:ser>
          <c:idx val="4"/>
          <c:order val="4"/>
          <c:spPr>
            <a:ln w="19050" cap="rnd">
              <a:solidFill>
                <a:srgbClr val="C00000"/>
              </a:solidFill>
              <a:round/>
            </a:ln>
            <a:effectLst/>
          </c:spPr>
          <c:marker>
            <c:symbol val="none"/>
          </c:marker>
          <c:val>
            <c:numRef>
              <c:f>Tabelle1!$A$9:$A$500</c:f>
              <c:numCache>
                <c:formatCode>General</c:formatCode>
                <c:ptCount val="492"/>
                <c:pt idx="0">
                  <c:v>50</c:v>
                </c:pt>
                <c:pt idx="1">
                  <c:v>50</c:v>
                </c:pt>
                <c:pt idx="2">
                  <c:v>50</c:v>
                </c:pt>
                <c:pt idx="3">
                  <c:v>50</c:v>
                </c:pt>
                <c:pt idx="4">
                  <c:v>50</c:v>
                </c:pt>
                <c:pt idx="5">
                  <c:v>50</c:v>
                </c:pt>
                <c:pt idx="6">
                  <c:v>50</c:v>
                </c:pt>
                <c:pt idx="7">
                  <c:v>50</c:v>
                </c:pt>
                <c:pt idx="8">
                  <c:v>50</c:v>
                </c:pt>
                <c:pt idx="9">
                  <c:v>50</c:v>
                </c:pt>
                <c:pt idx="10">
                  <c:v>50</c:v>
                </c:pt>
                <c:pt idx="11">
                  <c:v>50</c:v>
                </c:pt>
                <c:pt idx="12">
                  <c:v>50</c:v>
                </c:pt>
                <c:pt idx="13">
                  <c:v>50</c:v>
                </c:pt>
                <c:pt idx="14">
                  <c:v>50</c:v>
                </c:pt>
                <c:pt idx="15">
                  <c:v>50</c:v>
                </c:pt>
                <c:pt idx="16">
                  <c:v>50</c:v>
                </c:pt>
                <c:pt idx="17">
                  <c:v>50</c:v>
                </c:pt>
                <c:pt idx="18">
                  <c:v>50</c:v>
                </c:pt>
                <c:pt idx="19">
                  <c:v>50</c:v>
                </c:pt>
                <c:pt idx="20">
                  <c:v>50</c:v>
                </c:pt>
                <c:pt idx="21">
                  <c:v>50</c:v>
                </c:pt>
                <c:pt idx="22">
                  <c:v>50</c:v>
                </c:pt>
                <c:pt idx="23">
                  <c:v>50</c:v>
                </c:pt>
                <c:pt idx="24">
                  <c:v>50</c:v>
                </c:pt>
                <c:pt idx="25">
                  <c:v>50</c:v>
                </c:pt>
                <c:pt idx="26">
                  <c:v>50</c:v>
                </c:pt>
                <c:pt idx="27">
                  <c:v>50</c:v>
                </c:pt>
                <c:pt idx="28">
                  <c:v>50</c:v>
                </c:pt>
                <c:pt idx="29">
                  <c:v>50</c:v>
                </c:pt>
                <c:pt idx="30">
                  <c:v>50</c:v>
                </c:pt>
                <c:pt idx="31">
                  <c:v>50</c:v>
                </c:pt>
                <c:pt idx="32">
                  <c:v>50</c:v>
                </c:pt>
                <c:pt idx="33">
                  <c:v>50</c:v>
                </c:pt>
                <c:pt idx="34">
                  <c:v>50</c:v>
                </c:pt>
                <c:pt idx="35">
                  <c:v>50</c:v>
                </c:pt>
                <c:pt idx="36">
                  <c:v>50</c:v>
                </c:pt>
                <c:pt idx="37">
                  <c:v>50</c:v>
                </c:pt>
                <c:pt idx="38">
                  <c:v>50</c:v>
                </c:pt>
                <c:pt idx="39">
                  <c:v>50</c:v>
                </c:pt>
                <c:pt idx="40">
                  <c:v>50</c:v>
                </c:pt>
                <c:pt idx="41">
                  <c:v>50</c:v>
                </c:pt>
                <c:pt idx="42">
                  <c:v>50</c:v>
                </c:pt>
                <c:pt idx="43">
                  <c:v>50</c:v>
                </c:pt>
                <c:pt idx="44">
                  <c:v>50</c:v>
                </c:pt>
                <c:pt idx="45">
                  <c:v>50</c:v>
                </c:pt>
                <c:pt idx="46">
                  <c:v>50</c:v>
                </c:pt>
                <c:pt idx="47">
                  <c:v>50</c:v>
                </c:pt>
                <c:pt idx="48">
                  <c:v>50</c:v>
                </c:pt>
                <c:pt idx="49">
                  <c:v>50</c:v>
                </c:pt>
                <c:pt idx="50">
                  <c:v>50</c:v>
                </c:pt>
                <c:pt idx="51">
                  <c:v>50</c:v>
                </c:pt>
                <c:pt idx="52">
                  <c:v>50</c:v>
                </c:pt>
                <c:pt idx="53">
                  <c:v>50</c:v>
                </c:pt>
                <c:pt idx="54">
                  <c:v>50</c:v>
                </c:pt>
                <c:pt idx="55">
                  <c:v>50</c:v>
                </c:pt>
                <c:pt idx="56">
                  <c:v>50</c:v>
                </c:pt>
                <c:pt idx="57">
                  <c:v>50</c:v>
                </c:pt>
                <c:pt idx="58">
                  <c:v>50</c:v>
                </c:pt>
                <c:pt idx="59">
                  <c:v>50</c:v>
                </c:pt>
                <c:pt idx="60">
                  <c:v>50</c:v>
                </c:pt>
                <c:pt idx="61">
                  <c:v>50</c:v>
                </c:pt>
                <c:pt idx="62">
                  <c:v>50</c:v>
                </c:pt>
                <c:pt idx="63">
                  <c:v>50</c:v>
                </c:pt>
                <c:pt idx="64">
                  <c:v>50</c:v>
                </c:pt>
                <c:pt idx="65">
                  <c:v>50</c:v>
                </c:pt>
                <c:pt idx="66">
                  <c:v>50</c:v>
                </c:pt>
                <c:pt idx="67">
                  <c:v>50</c:v>
                </c:pt>
                <c:pt idx="68">
                  <c:v>50</c:v>
                </c:pt>
                <c:pt idx="69">
                  <c:v>50</c:v>
                </c:pt>
                <c:pt idx="70">
                  <c:v>50</c:v>
                </c:pt>
                <c:pt idx="71">
                  <c:v>50</c:v>
                </c:pt>
                <c:pt idx="72">
                  <c:v>50</c:v>
                </c:pt>
                <c:pt idx="73">
                  <c:v>50</c:v>
                </c:pt>
                <c:pt idx="74">
                  <c:v>50</c:v>
                </c:pt>
                <c:pt idx="75">
                  <c:v>50</c:v>
                </c:pt>
                <c:pt idx="76">
                  <c:v>50</c:v>
                </c:pt>
                <c:pt idx="77">
                  <c:v>50</c:v>
                </c:pt>
                <c:pt idx="78">
                  <c:v>50</c:v>
                </c:pt>
                <c:pt idx="79">
                  <c:v>50</c:v>
                </c:pt>
                <c:pt idx="80">
                  <c:v>50</c:v>
                </c:pt>
                <c:pt idx="81">
                  <c:v>50</c:v>
                </c:pt>
                <c:pt idx="82">
                  <c:v>50</c:v>
                </c:pt>
                <c:pt idx="83">
                  <c:v>50</c:v>
                </c:pt>
                <c:pt idx="84">
                  <c:v>50</c:v>
                </c:pt>
                <c:pt idx="85">
                  <c:v>50</c:v>
                </c:pt>
                <c:pt idx="86">
                  <c:v>50</c:v>
                </c:pt>
                <c:pt idx="87">
                  <c:v>50</c:v>
                </c:pt>
                <c:pt idx="88">
                  <c:v>50</c:v>
                </c:pt>
                <c:pt idx="89">
                  <c:v>50</c:v>
                </c:pt>
                <c:pt idx="90">
                  <c:v>50</c:v>
                </c:pt>
                <c:pt idx="91">
                  <c:v>50</c:v>
                </c:pt>
                <c:pt idx="92">
                  <c:v>50</c:v>
                </c:pt>
                <c:pt idx="93">
                  <c:v>50</c:v>
                </c:pt>
                <c:pt idx="94">
                  <c:v>50</c:v>
                </c:pt>
                <c:pt idx="95">
                  <c:v>50</c:v>
                </c:pt>
                <c:pt idx="96">
                  <c:v>50</c:v>
                </c:pt>
                <c:pt idx="97">
                  <c:v>50</c:v>
                </c:pt>
                <c:pt idx="98">
                  <c:v>50</c:v>
                </c:pt>
                <c:pt idx="99">
                  <c:v>50</c:v>
                </c:pt>
                <c:pt idx="100">
                  <c:v>50</c:v>
                </c:pt>
                <c:pt idx="101">
                  <c:v>50</c:v>
                </c:pt>
                <c:pt idx="102">
                  <c:v>50</c:v>
                </c:pt>
                <c:pt idx="103">
                  <c:v>50</c:v>
                </c:pt>
                <c:pt idx="104">
                  <c:v>50</c:v>
                </c:pt>
                <c:pt idx="105">
                  <c:v>50</c:v>
                </c:pt>
                <c:pt idx="106">
                  <c:v>50</c:v>
                </c:pt>
                <c:pt idx="107">
                  <c:v>50</c:v>
                </c:pt>
                <c:pt idx="108">
                  <c:v>50</c:v>
                </c:pt>
                <c:pt idx="109">
                  <c:v>50</c:v>
                </c:pt>
                <c:pt idx="110">
                  <c:v>50</c:v>
                </c:pt>
                <c:pt idx="111">
                  <c:v>50</c:v>
                </c:pt>
                <c:pt idx="112">
                  <c:v>50</c:v>
                </c:pt>
                <c:pt idx="113">
                  <c:v>50</c:v>
                </c:pt>
                <c:pt idx="114">
                  <c:v>50</c:v>
                </c:pt>
                <c:pt idx="115">
                  <c:v>50</c:v>
                </c:pt>
                <c:pt idx="116">
                  <c:v>50</c:v>
                </c:pt>
                <c:pt idx="117">
                  <c:v>50</c:v>
                </c:pt>
                <c:pt idx="118">
                  <c:v>50</c:v>
                </c:pt>
                <c:pt idx="119">
                  <c:v>50</c:v>
                </c:pt>
                <c:pt idx="120">
                  <c:v>50</c:v>
                </c:pt>
                <c:pt idx="121">
                  <c:v>50</c:v>
                </c:pt>
                <c:pt idx="122">
                  <c:v>50</c:v>
                </c:pt>
                <c:pt idx="123">
                  <c:v>50</c:v>
                </c:pt>
                <c:pt idx="124">
                  <c:v>50</c:v>
                </c:pt>
                <c:pt idx="125">
                  <c:v>50</c:v>
                </c:pt>
                <c:pt idx="126">
                  <c:v>50</c:v>
                </c:pt>
                <c:pt idx="127">
                  <c:v>50</c:v>
                </c:pt>
                <c:pt idx="128">
                  <c:v>50</c:v>
                </c:pt>
                <c:pt idx="129">
                  <c:v>50</c:v>
                </c:pt>
                <c:pt idx="130">
                  <c:v>50</c:v>
                </c:pt>
                <c:pt idx="131">
                  <c:v>50</c:v>
                </c:pt>
                <c:pt idx="132">
                  <c:v>50</c:v>
                </c:pt>
                <c:pt idx="133">
                  <c:v>50</c:v>
                </c:pt>
                <c:pt idx="134">
                  <c:v>50</c:v>
                </c:pt>
                <c:pt idx="135">
                  <c:v>50</c:v>
                </c:pt>
                <c:pt idx="136">
                  <c:v>50</c:v>
                </c:pt>
                <c:pt idx="137">
                  <c:v>50</c:v>
                </c:pt>
                <c:pt idx="138">
                  <c:v>50</c:v>
                </c:pt>
                <c:pt idx="139">
                  <c:v>50</c:v>
                </c:pt>
                <c:pt idx="140">
                  <c:v>50</c:v>
                </c:pt>
                <c:pt idx="141">
                  <c:v>50</c:v>
                </c:pt>
                <c:pt idx="142">
                  <c:v>50</c:v>
                </c:pt>
                <c:pt idx="143">
                  <c:v>50</c:v>
                </c:pt>
                <c:pt idx="144">
                  <c:v>50</c:v>
                </c:pt>
                <c:pt idx="145">
                  <c:v>50</c:v>
                </c:pt>
                <c:pt idx="146">
                  <c:v>50</c:v>
                </c:pt>
                <c:pt idx="147">
                  <c:v>50</c:v>
                </c:pt>
                <c:pt idx="148">
                  <c:v>50</c:v>
                </c:pt>
                <c:pt idx="149">
                  <c:v>50</c:v>
                </c:pt>
                <c:pt idx="150">
                  <c:v>50</c:v>
                </c:pt>
                <c:pt idx="151">
                  <c:v>50</c:v>
                </c:pt>
                <c:pt idx="152">
                  <c:v>50</c:v>
                </c:pt>
                <c:pt idx="153">
                  <c:v>50</c:v>
                </c:pt>
                <c:pt idx="154">
                  <c:v>50</c:v>
                </c:pt>
                <c:pt idx="155">
                  <c:v>50</c:v>
                </c:pt>
                <c:pt idx="156">
                  <c:v>50</c:v>
                </c:pt>
                <c:pt idx="157">
                  <c:v>50</c:v>
                </c:pt>
                <c:pt idx="158">
                  <c:v>50</c:v>
                </c:pt>
                <c:pt idx="159">
                  <c:v>50</c:v>
                </c:pt>
                <c:pt idx="160">
                  <c:v>50</c:v>
                </c:pt>
                <c:pt idx="161">
                  <c:v>50</c:v>
                </c:pt>
                <c:pt idx="162">
                  <c:v>50</c:v>
                </c:pt>
                <c:pt idx="163">
                  <c:v>50</c:v>
                </c:pt>
                <c:pt idx="164">
                  <c:v>50</c:v>
                </c:pt>
                <c:pt idx="165">
                  <c:v>50</c:v>
                </c:pt>
                <c:pt idx="166">
                  <c:v>50</c:v>
                </c:pt>
                <c:pt idx="167">
                  <c:v>50</c:v>
                </c:pt>
                <c:pt idx="168">
                  <c:v>50</c:v>
                </c:pt>
                <c:pt idx="169">
                  <c:v>50</c:v>
                </c:pt>
                <c:pt idx="170">
                  <c:v>50</c:v>
                </c:pt>
                <c:pt idx="171">
                  <c:v>50</c:v>
                </c:pt>
                <c:pt idx="172">
                  <c:v>50</c:v>
                </c:pt>
                <c:pt idx="173">
                  <c:v>50</c:v>
                </c:pt>
                <c:pt idx="174">
                  <c:v>50</c:v>
                </c:pt>
                <c:pt idx="175">
                  <c:v>50</c:v>
                </c:pt>
                <c:pt idx="176">
                  <c:v>50</c:v>
                </c:pt>
                <c:pt idx="177">
                  <c:v>50</c:v>
                </c:pt>
                <c:pt idx="178">
                  <c:v>50</c:v>
                </c:pt>
                <c:pt idx="179">
                  <c:v>50</c:v>
                </c:pt>
                <c:pt idx="180">
                  <c:v>50</c:v>
                </c:pt>
                <c:pt idx="181">
                  <c:v>50</c:v>
                </c:pt>
                <c:pt idx="182">
                  <c:v>50</c:v>
                </c:pt>
                <c:pt idx="183">
                  <c:v>50</c:v>
                </c:pt>
                <c:pt idx="184">
                  <c:v>50</c:v>
                </c:pt>
                <c:pt idx="185">
                  <c:v>50</c:v>
                </c:pt>
                <c:pt idx="186">
                  <c:v>50</c:v>
                </c:pt>
                <c:pt idx="187">
                  <c:v>50</c:v>
                </c:pt>
                <c:pt idx="188">
                  <c:v>50</c:v>
                </c:pt>
                <c:pt idx="189">
                  <c:v>50</c:v>
                </c:pt>
                <c:pt idx="190">
                  <c:v>50</c:v>
                </c:pt>
                <c:pt idx="191">
                  <c:v>50</c:v>
                </c:pt>
                <c:pt idx="192">
                  <c:v>50</c:v>
                </c:pt>
                <c:pt idx="193">
                  <c:v>50</c:v>
                </c:pt>
                <c:pt idx="194">
                  <c:v>50</c:v>
                </c:pt>
                <c:pt idx="195">
                  <c:v>50</c:v>
                </c:pt>
                <c:pt idx="196">
                  <c:v>50</c:v>
                </c:pt>
                <c:pt idx="197">
                  <c:v>50</c:v>
                </c:pt>
                <c:pt idx="198">
                  <c:v>50</c:v>
                </c:pt>
                <c:pt idx="199">
                  <c:v>50</c:v>
                </c:pt>
                <c:pt idx="200">
                  <c:v>50</c:v>
                </c:pt>
                <c:pt idx="201">
                  <c:v>50</c:v>
                </c:pt>
                <c:pt idx="202">
                  <c:v>50</c:v>
                </c:pt>
                <c:pt idx="203">
                  <c:v>50</c:v>
                </c:pt>
                <c:pt idx="204">
                  <c:v>50</c:v>
                </c:pt>
                <c:pt idx="205">
                  <c:v>50</c:v>
                </c:pt>
                <c:pt idx="206">
                  <c:v>50</c:v>
                </c:pt>
                <c:pt idx="207">
                  <c:v>50</c:v>
                </c:pt>
                <c:pt idx="208">
                  <c:v>50</c:v>
                </c:pt>
                <c:pt idx="209">
                  <c:v>50</c:v>
                </c:pt>
                <c:pt idx="210">
                  <c:v>50</c:v>
                </c:pt>
                <c:pt idx="211">
                  <c:v>50</c:v>
                </c:pt>
                <c:pt idx="212">
                  <c:v>50</c:v>
                </c:pt>
                <c:pt idx="213">
                  <c:v>50</c:v>
                </c:pt>
                <c:pt idx="214">
                  <c:v>50</c:v>
                </c:pt>
                <c:pt idx="215">
                  <c:v>50</c:v>
                </c:pt>
                <c:pt idx="216">
                  <c:v>50</c:v>
                </c:pt>
                <c:pt idx="217">
                  <c:v>50</c:v>
                </c:pt>
                <c:pt idx="218">
                  <c:v>50</c:v>
                </c:pt>
                <c:pt idx="219">
                  <c:v>50</c:v>
                </c:pt>
                <c:pt idx="220">
                  <c:v>50</c:v>
                </c:pt>
                <c:pt idx="221">
                  <c:v>50</c:v>
                </c:pt>
                <c:pt idx="222">
                  <c:v>50</c:v>
                </c:pt>
                <c:pt idx="223">
                  <c:v>50</c:v>
                </c:pt>
                <c:pt idx="224">
                  <c:v>50</c:v>
                </c:pt>
                <c:pt idx="225">
                  <c:v>50</c:v>
                </c:pt>
                <c:pt idx="226">
                  <c:v>50</c:v>
                </c:pt>
                <c:pt idx="227">
                  <c:v>50</c:v>
                </c:pt>
                <c:pt idx="228">
                  <c:v>50</c:v>
                </c:pt>
                <c:pt idx="229">
                  <c:v>50</c:v>
                </c:pt>
                <c:pt idx="230">
                  <c:v>50</c:v>
                </c:pt>
                <c:pt idx="231">
                  <c:v>50</c:v>
                </c:pt>
                <c:pt idx="232">
                  <c:v>50</c:v>
                </c:pt>
                <c:pt idx="233">
                  <c:v>50</c:v>
                </c:pt>
                <c:pt idx="234">
                  <c:v>50</c:v>
                </c:pt>
                <c:pt idx="235">
                  <c:v>50</c:v>
                </c:pt>
                <c:pt idx="236">
                  <c:v>50</c:v>
                </c:pt>
                <c:pt idx="237">
                  <c:v>50</c:v>
                </c:pt>
                <c:pt idx="238">
                  <c:v>50</c:v>
                </c:pt>
                <c:pt idx="239">
                  <c:v>50</c:v>
                </c:pt>
                <c:pt idx="240">
                  <c:v>50</c:v>
                </c:pt>
                <c:pt idx="241">
                  <c:v>50</c:v>
                </c:pt>
                <c:pt idx="242">
                  <c:v>50</c:v>
                </c:pt>
                <c:pt idx="243">
                  <c:v>50</c:v>
                </c:pt>
                <c:pt idx="244">
                  <c:v>50</c:v>
                </c:pt>
                <c:pt idx="245">
                  <c:v>50</c:v>
                </c:pt>
                <c:pt idx="246">
                  <c:v>50</c:v>
                </c:pt>
                <c:pt idx="247">
                  <c:v>50</c:v>
                </c:pt>
                <c:pt idx="248">
                  <c:v>50</c:v>
                </c:pt>
                <c:pt idx="249">
                  <c:v>50</c:v>
                </c:pt>
                <c:pt idx="250">
                  <c:v>50</c:v>
                </c:pt>
                <c:pt idx="251">
                  <c:v>50</c:v>
                </c:pt>
                <c:pt idx="252">
                  <c:v>50</c:v>
                </c:pt>
                <c:pt idx="253">
                  <c:v>50</c:v>
                </c:pt>
                <c:pt idx="254">
                  <c:v>50</c:v>
                </c:pt>
                <c:pt idx="255">
                  <c:v>50</c:v>
                </c:pt>
                <c:pt idx="256">
                  <c:v>50</c:v>
                </c:pt>
                <c:pt idx="257">
                  <c:v>50</c:v>
                </c:pt>
                <c:pt idx="258">
                  <c:v>50</c:v>
                </c:pt>
                <c:pt idx="259">
                  <c:v>50</c:v>
                </c:pt>
                <c:pt idx="260">
                  <c:v>50</c:v>
                </c:pt>
                <c:pt idx="261">
                  <c:v>50</c:v>
                </c:pt>
                <c:pt idx="262">
                  <c:v>50</c:v>
                </c:pt>
                <c:pt idx="263">
                  <c:v>50</c:v>
                </c:pt>
                <c:pt idx="264">
                  <c:v>50</c:v>
                </c:pt>
                <c:pt idx="265">
                  <c:v>50</c:v>
                </c:pt>
                <c:pt idx="266">
                  <c:v>50</c:v>
                </c:pt>
                <c:pt idx="267">
                  <c:v>50</c:v>
                </c:pt>
                <c:pt idx="268">
                  <c:v>50</c:v>
                </c:pt>
                <c:pt idx="269">
                  <c:v>50</c:v>
                </c:pt>
                <c:pt idx="270">
                  <c:v>50</c:v>
                </c:pt>
                <c:pt idx="271">
                  <c:v>50</c:v>
                </c:pt>
                <c:pt idx="272">
                  <c:v>50</c:v>
                </c:pt>
                <c:pt idx="273">
                  <c:v>50</c:v>
                </c:pt>
                <c:pt idx="274">
                  <c:v>50</c:v>
                </c:pt>
                <c:pt idx="275">
                  <c:v>50</c:v>
                </c:pt>
                <c:pt idx="276">
                  <c:v>50</c:v>
                </c:pt>
                <c:pt idx="277">
                  <c:v>50</c:v>
                </c:pt>
              </c:numCache>
            </c:numRef>
          </c:val>
          <c:smooth val="0"/>
          <c:extLst>
            <c:ext xmlns:c16="http://schemas.microsoft.com/office/drawing/2014/chart" uri="{C3380CC4-5D6E-409C-BE32-E72D297353CC}">
              <c16:uniqueId val="{00000004-DC6A-48CE-80B7-E776B228A50B}"/>
            </c:ext>
          </c:extLst>
        </c:ser>
        <c:ser>
          <c:idx val="5"/>
          <c:order val="5"/>
          <c:tx>
            <c:strRef>
              <c:f>Tabelle1!$Q$5</c:f>
              <c:strCache>
                <c:ptCount val="1"/>
                <c:pt idx="0">
                  <c:v>IT</c:v>
                </c:pt>
              </c:strCache>
            </c:strRef>
          </c:tx>
          <c:spPr>
            <a:ln w="28575" cap="rnd">
              <a:solidFill>
                <a:schemeClr val="accent6"/>
              </a:solidFill>
              <a:round/>
            </a:ln>
            <a:effectLst/>
          </c:spPr>
          <c:marker>
            <c:symbol val="none"/>
          </c:marker>
          <c:val>
            <c:numRef>
              <c:f>Tabelle1!$Q$9:$Q$500</c:f>
              <c:numCache>
                <c:formatCode>General</c:formatCode>
                <c:ptCount val="492"/>
                <c:pt idx="0">
                  <c:v>55.2</c:v>
                </c:pt>
                <c:pt idx="1">
                  <c:v>57.9</c:v>
                </c:pt>
                <c:pt idx="2">
                  <c:v>60</c:v>
                </c:pt>
                <c:pt idx="3">
                  <c:v>59.3</c:v>
                </c:pt>
                <c:pt idx="4">
                  <c:v>58.2</c:v>
                </c:pt>
                <c:pt idx="5">
                  <c:v>57.5</c:v>
                </c:pt>
                <c:pt idx="6">
                  <c:v>57.6</c:v>
                </c:pt>
                <c:pt idx="7">
                  <c:v>57.4</c:v>
                </c:pt>
                <c:pt idx="8">
                  <c:v>56.7</c:v>
                </c:pt>
                <c:pt idx="9">
                  <c:v>55.9</c:v>
                </c:pt>
                <c:pt idx="10">
                  <c:v>55</c:v>
                </c:pt>
                <c:pt idx="11">
                  <c:v>53.9</c:v>
                </c:pt>
                <c:pt idx="12">
                  <c:v>53.2</c:v>
                </c:pt>
                <c:pt idx="13">
                  <c:v>52.8</c:v>
                </c:pt>
                <c:pt idx="14">
                  <c:v>50.8</c:v>
                </c:pt>
                <c:pt idx="15">
                  <c:v>49.2</c:v>
                </c:pt>
                <c:pt idx="16">
                  <c:v>48.4</c:v>
                </c:pt>
                <c:pt idx="17">
                  <c:v>48.3</c:v>
                </c:pt>
                <c:pt idx="18">
                  <c:v>46.4</c:v>
                </c:pt>
                <c:pt idx="19">
                  <c:v>47.2</c:v>
                </c:pt>
                <c:pt idx="20">
                  <c:v>46.1</c:v>
                </c:pt>
                <c:pt idx="21">
                  <c:v>43.3</c:v>
                </c:pt>
                <c:pt idx="22">
                  <c:v>44.5</c:v>
                </c:pt>
                <c:pt idx="23">
                  <c:v>46</c:v>
                </c:pt>
                <c:pt idx="24">
                  <c:v>49.4</c:v>
                </c:pt>
                <c:pt idx="25">
                  <c:v>51.2</c:v>
                </c:pt>
                <c:pt idx="26">
                  <c:v>52.5</c:v>
                </c:pt>
                <c:pt idx="27">
                  <c:v>51.5</c:v>
                </c:pt>
                <c:pt idx="28">
                  <c:v>51.8</c:v>
                </c:pt>
                <c:pt idx="29">
                  <c:v>51.1</c:v>
                </c:pt>
                <c:pt idx="30">
                  <c:v>51.8</c:v>
                </c:pt>
                <c:pt idx="31">
                  <c:v>51.6</c:v>
                </c:pt>
                <c:pt idx="32">
                  <c:v>50.5</c:v>
                </c:pt>
                <c:pt idx="33">
                  <c:v>50.7</c:v>
                </c:pt>
                <c:pt idx="34">
                  <c:v>51</c:v>
                </c:pt>
                <c:pt idx="35">
                  <c:v>51.1</c:v>
                </c:pt>
                <c:pt idx="36">
                  <c:v>51.4</c:v>
                </c:pt>
                <c:pt idx="37">
                  <c:v>50.7</c:v>
                </c:pt>
                <c:pt idx="38">
                  <c:v>50</c:v>
                </c:pt>
                <c:pt idx="39">
                  <c:v>49</c:v>
                </c:pt>
                <c:pt idx="40">
                  <c:v>48.6</c:v>
                </c:pt>
                <c:pt idx="41">
                  <c:v>47.6</c:v>
                </c:pt>
                <c:pt idx="42">
                  <c:v>48.4</c:v>
                </c:pt>
                <c:pt idx="43">
                  <c:v>47.9</c:v>
                </c:pt>
                <c:pt idx="44">
                  <c:v>49.8</c:v>
                </c:pt>
                <c:pt idx="45">
                  <c:v>51.8</c:v>
                </c:pt>
                <c:pt idx="46">
                  <c:v>52.3</c:v>
                </c:pt>
                <c:pt idx="47">
                  <c:v>51.9</c:v>
                </c:pt>
                <c:pt idx="48">
                  <c:v>51.1</c:v>
                </c:pt>
                <c:pt idx="49">
                  <c:v>50.8</c:v>
                </c:pt>
                <c:pt idx="50">
                  <c:v>52.1</c:v>
                </c:pt>
                <c:pt idx="51">
                  <c:v>52.5</c:v>
                </c:pt>
                <c:pt idx="52">
                  <c:v>52.8</c:v>
                </c:pt>
                <c:pt idx="53">
                  <c:v>52.3</c:v>
                </c:pt>
                <c:pt idx="54">
                  <c:v>52.6</c:v>
                </c:pt>
                <c:pt idx="55">
                  <c:v>52.3</c:v>
                </c:pt>
                <c:pt idx="56">
                  <c:v>51.6</c:v>
                </c:pt>
                <c:pt idx="57">
                  <c:v>51.4</c:v>
                </c:pt>
                <c:pt idx="58">
                  <c:v>48.1</c:v>
                </c:pt>
                <c:pt idx="59">
                  <c:v>48.6</c:v>
                </c:pt>
                <c:pt idx="60">
                  <c:v>50.1</c:v>
                </c:pt>
                <c:pt idx="61">
                  <c:v>50.6</c:v>
                </c:pt>
                <c:pt idx="62">
                  <c:v>49.1</c:v>
                </c:pt>
                <c:pt idx="63">
                  <c:v>48</c:v>
                </c:pt>
                <c:pt idx="64">
                  <c:v>47.1</c:v>
                </c:pt>
                <c:pt idx="65">
                  <c:v>49.4</c:v>
                </c:pt>
                <c:pt idx="66">
                  <c:v>50.8</c:v>
                </c:pt>
                <c:pt idx="67">
                  <c:v>50</c:v>
                </c:pt>
                <c:pt idx="68">
                  <c:v>51.5</c:v>
                </c:pt>
                <c:pt idx="69">
                  <c:v>52</c:v>
                </c:pt>
                <c:pt idx="70">
                  <c:v>53.1</c:v>
                </c:pt>
                <c:pt idx="71">
                  <c:v>54.1</c:v>
                </c:pt>
                <c:pt idx="72">
                  <c:v>53.5</c:v>
                </c:pt>
                <c:pt idx="73">
                  <c:v>55.1</c:v>
                </c:pt>
                <c:pt idx="74">
                  <c:v>55.5</c:v>
                </c:pt>
                <c:pt idx="75">
                  <c:v>57</c:v>
                </c:pt>
                <c:pt idx="76">
                  <c:v>56.6</c:v>
                </c:pt>
                <c:pt idx="77">
                  <c:v>57.5</c:v>
                </c:pt>
                <c:pt idx="78">
                  <c:v>56.1</c:v>
                </c:pt>
                <c:pt idx="79">
                  <c:v>54.8</c:v>
                </c:pt>
                <c:pt idx="80">
                  <c:v>54.8</c:v>
                </c:pt>
                <c:pt idx="81">
                  <c:v>56.2</c:v>
                </c:pt>
                <c:pt idx="82">
                  <c:v>54.8</c:v>
                </c:pt>
                <c:pt idx="83">
                  <c:v>55</c:v>
                </c:pt>
                <c:pt idx="84">
                  <c:v>53.5</c:v>
                </c:pt>
                <c:pt idx="85">
                  <c:v>54.2</c:v>
                </c:pt>
                <c:pt idx="86">
                  <c:v>53.8</c:v>
                </c:pt>
                <c:pt idx="87">
                  <c:v>53.9</c:v>
                </c:pt>
                <c:pt idx="88">
                  <c:v>55</c:v>
                </c:pt>
                <c:pt idx="89">
                  <c:v>54</c:v>
                </c:pt>
                <c:pt idx="90">
                  <c:v>53.3</c:v>
                </c:pt>
                <c:pt idx="91">
                  <c:v>53.6</c:v>
                </c:pt>
                <c:pt idx="92">
                  <c:v>52.4</c:v>
                </c:pt>
                <c:pt idx="93">
                  <c:v>51.3</c:v>
                </c:pt>
                <c:pt idx="94">
                  <c:v>51.3</c:v>
                </c:pt>
                <c:pt idx="95">
                  <c:v>50.7</c:v>
                </c:pt>
                <c:pt idx="96">
                  <c:v>50.8</c:v>
                </c:pt>
                <c:pt idx="97">
                  <c:v>50.6</c:v>
                </c:pt>
                <c:pt idx="98">
                  <c:v>49.4</c:v>
                </c:pt>
                <c:pt idx="99">
                  <c:v>48.2</c:v>
                </c:pt>
                <c:pt idx="100">
                  <c:v>48</c:v>
                </c:pt>
                <c:pt idx="101">
                  <c:v>46.9</c:v>
                </c:pt>
                <c:pt idx="102">
                  <c:v>45.3</c:v>
                </c:pt>
                <c:pt idx="103">
                  <c:v>47.1</c:v>
                </c:pt>
                <c:pt idx="104">
                  <c:v>44.4</c:v>
                </c:pt>
                <c:pt idx="105">
                  <c:v>39.700000000000003</c:v>
                </c:pt>
                <c:pt idx="106">
                  <c:v>34.9</c:v>
                </c:pt>
                <c:pt idx="107">
                  <c:v>35.5</c:v>
                </c:pt>
                <c:pt idx="108">
                  <c:v>36.1</c:v>
                </c:pt>
                <c:pt idx="109">
                  <c:v>35</c:v>
                </c:pt>
                <c:pt idx="110">
                  <c:v>34.6</c:v>
                </c:pt>
                <c:pt idx="111">
                  <c:v>37.200000000000003</c:v>
                </c:pt>
                <c:pt idx="112">
                  <c:v>41.1</c:v>
                </c:pt>
                <c:pt idx="113">
                  <c:v>42.7</c:v>
                </c:pt>
                <c:pt idx="114">
                  <c:v>45.4</c:v>
                </c:pt>
                <c:pt idx="115">
                  <c:v>44.2</c:v>
                </c:pt>
                <c:pt idx="116">
                  <c:v>47.6</c:v>
                </c:pt>
                <c:pt idx="117">
                  <c:v>49.2</c:v>
                </c:pt>
                <c:pt idx="118">
                  <c:v>50.1</c:v>
                </c:pt>
                <c:pt idx="119">
                  <c:v>50.8</c:v>
                </c:pt>
                <c:pt idx="120">
                  <c:v>51.7</c:v>
                </c:pt>
                <c:pt idx="121">
                  <c:v>51.6</c:v>
                </c:pt>
                <c:pt idx="122">
                  <c:v>53.7</c:v>
                </c:pt>
                <c:pt idx="123">
                  <c:v>54.3</c:v>
                </c:pt>
                <c:pt idx="124">
                  <c:v>54</c:v>
                </c:pt>
                <c:pt idx="125">
                  <c:v>54.3</c:v>
                </c:pt>
                <c:pt idx="126">
                  <c:v>54.4</c:v>
                </c:pt>
                <c:pt idx="127">
                  <c:v>52.8</c:v>
                </c:pt>
                <c:pt idx="128">
                  <c:v>52.6</c:v>
                </c:pt>
                <c:pt idx="129">
                  <c:v>53</c:v>
                </c:pt>
                <c:pt idx="130">
                  <c:v>52</c:v>
                </c:pt>
                <c:pt idx="131">
                  <c:v>54.7</c:v>
                </c:pt>
                <c:pt idx="132">
                  <c:v>56.6</c:v>
                </c:pt>
                <c:pt idx="133">
                  <c:v>59</c:v>
                </c:pt>
                <c:pt idx="134">
                  <c:v>56.2</c:v>
                </c:pt>
                <c:pt idx="135">
                  <c:v>55.5</c:v>
                </c:pt>
                <c:pt idx="136">
                  <c:v>52.8</c:v>
                </c:pt>
                <c:pt idx="137">
                  <c:v>49.9</c:v>
                </c:pt>
                <c:pt idx="138">
                  <c:v>50.1</c:v>
                </c:pt>
                <c:pt idx="139">
                  <c:v>47</c:v>
                </c:pt>
                <c:pt idx="140">
                  <c:v>48.3</c:v>
                </c:pt>
                <c:pt idx="141">
                  <c:v>43.3</c:v>
                </c:pt>
                <c:pt idx="142">
                  <c:v>44</c:v>
                </c:pt>
                <c:pt idx="143">
                  <c:v>44.3</c:v>
                </c:pt>
                <c:pt idx="144">
                  <c:v>46.8</c:v>
                </c:pt>
                <c:pt idx="145">
                  <c:v>47.8</c:v>
                </c:pt>
                <c:pt idx="146">
                  <c:v>47.9</c:v>
                </c:pt>
                <c:pt idx="147">
                  <c:v>43.8</c:v>
                </c:pt>
                <c:pt idx="148">
                  <c:v>44.8</c:v>
                </c:pt>
                <c:pt idx="149">
                  <c:v>44.6</c:v>
                </c:pt>
                <c:pt idx="150">
                  <c:v>44.3</c:v>
                </c:pt>
                <c:pt idx="151">
                  <c:v>43.6</c:v>
                </c:pt>
                <c:pt idx="152">
                  <c:v>45.7</c:v>
                </c:pt>
                <c:pt idx="153">
                  <c:v>45.5</c:v>
                </c:pt>
                <c:pt idx="154">
                  <c:v>45.1</c:v>
                </c:pt>
                <c:pt idx="155">
                  <c:v>46.7</c:v>
                </c:pt>
                <c:pt idx="156">
                  <c:v>47.8</c:v>
                </c:pt>
                <c:pt idx="157">
                  <c:v>45.8</c:v>
                </c:pt>
                <c:pt idx="158">
                  <c:v>44.5</c:v>
                </c:pt>
                <c:pt idx="159">
                  <c:v>45.5</c:v>
                </c:pt>
                <c:pt idx="160">
                  <c:v>47.3</c:v>
                </c:pt>
                <c:pt idx="161">
                  <c:v>49.1</c:v>
                </c:pt>
                <c:pt idx="162">
                  <c:v>50.4</c:v>
                </c:pt>
                <c:pt idx="163">
                  <c:v>51.3</c:v>
                </c:pt>
                <c:pt idx="164">
                  <c:v>50.8</c:v>
                </c:pt>
                <c:pt idx="165">
                  <c:v>50.7</c:v>
                </c:pt>
                <c:pt idx="166">
                  <c:v>51.4</c:v>
                </c:pt>
                <c:pt idx="167">
                  <c:v>53.3</c:v>
                </c:pt>
                <c:pt idx="168">
                  <c:v>53.1</c:v>
                </c:pt>
                <c:pt idx="169">
                  <c:v>52.3</c:v>
                </c:pt>
                <c:pt idx="170">
                  <c:v>52.4</c:v>
                </c:pt>
                <c:pt idx="171">
                  <c:v>54</c:v>
                </c:pt>
                <c:pt idx="172">
                  <c:v>53.2</c:v>
                </c:pt>
                <c:pt idx="173">
                  <c:v>52.6</c:v>
                </c:pt>
                <c:pt idx="174">
                  <c:v>51.9</c:v>
                </c:pt>
                <c:pt idx="175">
                  <c:v>49.8</c:v>
                </c:pt>
                <c:pt idx="176">
                  <c:v>50.7</c:v>
                </c:pt>
                <c:pt idx="177">
                  <c:v>49</c:v>
                </c:pt>
                <c:pt idx="178">
                  <c:v>49</c:v>
                </c:pt>
                <c:pt idx="179">
                  <c:v>48.4</c:v>
                </c:pt>
                <c:pt idx="180">
                  <c:v>49.9</c:v>
                </c:pt>
                <c:pt idx="181">
                  <c:v>51.9</c:v>
                </c:pt>
                <c:pt idx="182">
                  <c:v>53.3</c:v>
                </c:pt>
                <c:pt idx="183">
                  <c:v>53.8</c:v>
                </c:pt>
                <c:pt idx="184">
                  <c:v>54.8</c:v>
                </c:pt>
                <c:pt idx="185">
                  <c:v>54.1</c:v>
                </c:pt>
                <c:pt idx="186">
                  <c:v>55.3</c:v>
                </c:pt>
                <c:pt idx="187">
                  <c:v>53.8</c:v>
                </c:pt>
                <c:pt idx="188">
                  <c:v>52.7</c:v>
                </c:pt>
                <c:pt idx="189">
                  <c:v>54.1</c:v>
                </c:pt>
                <c:pt idx="190">
                  <c:v>54.9</c:v>
                </c:pt>
                <c:pt idx="191">
                  <c:v>55.6</c:v>
                </c:pt>
                <c:pt idx="192">
                  <c:v>53.2</c:v>
                </c:pt>
                <c:pt idx="193">
                  <c:v>52.2</c:v>
                </c:pt>
                <c:pt idx="194">
                  <c:v>53.5</c:v>
                </c:pt>
                <c:pt idx="195">
                  <c:v>53.9</c:v>
                </c:pt>
                <c:pt idx="196">
                  <c:v>52.4</c:v>
                </c:pt>
                <c:pt idx="197">
                  <c:v>53.5</c:v>
                </c:pt>
                <c:pt idx="198">
                  <c:v>51.2</c:v>
                </c:pt>
                <c:pt idx="199">
                  <c:v>49.8</c:v>
                </c:pt>
                <c:pt idx="200">
                  <c:v>51</c:v>
                </c:pt>
                <c:pt idx="201">
                  <c:v>50.9</c:v>
                </c:pt>
                <c:pt idx="202">
                  <c:v>52.2</c:v>
                </c:pt>
                <c:pt idx="203">
                  <c:v>53.2</c:v>
                </c:pt>
                <c:pt idx="204">
                  <c:v>53</c:v>
                </c:pt>
                <c:pt idx="205">
                  <c:v>55</c:v>
                </c:pt>
                <c:pt idx="206">
                  <c:v>55.7</c:v>
                </c:pt>
                <c:pt idx="207">
                  <c:v>56.2</c:v>
                </c:pt>
                <c:pt idx="208">
                  <c:v>55.1</c:v>
                </c:pt>
                <c:pt idx="209">
                  <c:v>55.2</c:v>
                </c:pt>
                <c:pt idx="210">
                  <c:v>55.1</c:v>
                </c:pt>
                <c:pt idx="211">
                  <c:v>56.3</c:v>
                </c:pt>
                <c:pt idx="212">
                  <c:v>56.3</c:v>
                </c:pt>
                <c:pt idx="213">
                  <c:v>57.8</c:v>
                </c:pt>
                <c:pt idx="214">
                  <c:v>58.3</c:v>
                </c:pt>
                <c:pt idx="215">
                  <c:v>57.4</c:v>
                </c:pt>
                <c:pt idx="216">
                  <c:v>59</c:v>
                </c:pt>
                <c:pt idx="217">
                  <c:v>56.8</c:v>
                </c:pt>
                <c:pt idx="218">
                  <c:v>55.1</c:v>
                </c:pt>
                <c:pt idx="219">
                  <c:v>53.5</c:v>
                </c:pt>
                <c:pt idx="220">
                  <c:v>52.7</c:v>
                </c:pt>
                <c:pt idx="221">
                  <c:v>53.3</c:v>
                </c:pt>
                <c:pt idx="222">
                  <c:v>51.5</c:v>
                </c:pt>
                <c:pt idx="223">
                  <c:v>50.1</c:v>
                </c:pt>
                <c:pt idx="224">
                  <c:v>50</c:v>
                </c:pt>
                <c:pt idx="225">
                  <c:v>49.2</c:v>
                </c:pt>
                <c:pt idx="226">
                  <c:v>48.6</c:v>
                </c:pt>
                <c:pt idx="227">
                  <c:v>49.2</c:v>
                </c:pt>
                <c:pt idx="228">
                  <c:v>47.8</c:v>
                </c:pt>
                <c:pt idx="229">
                  <c:v>47.7</c:v>
                </c:pt>
                <c:pt idx="230">
                  <c:v>47.4</c:v>
                </c:pt>
                <c:pt idx="231">
                  <c:v>49.1</c:v>
                </c:pt>
                <c:pt idx="232">
                  <c:v>49.7</c:v>
                </c:pt>
                <c:pt idx="233">
                  <c:v>48.4</c:v>
                </c:pt>
                <c:pt idx="234">
                  <c:v>48.5</c:v>
                </c:pt>
                <c:pt idx="235">
                  <c:v>48.7</c:v>
                </c:pt>
                <c:pt idx="236">
                  <c:v>47.8</c:v>
                </c:pt>
                <c:pt idx="237">
                  <c:v>47.7</c:v>
                </c:pt>
                <c:pt idx="238">
                  <c:v>47.6</c:v>
                </c:pt>
                <c:pt idx="239">
                  <c:v>46.2</c:v>
                </c:pt>
                <c:pt idx="240">
                  <c:v>48.9</c:v>
                </c:pt>
                <c:pt idx="241">
                  <c:v>48.7</c:v>
                </c:pt>
                <c:pt idx="242">
                  <c:v>40.299999999999997</c:v>
                </c:pt>
                <c:pt idx="243">
                  <c:v>31.1</c:v>
                </c:pt>
                <c:pt idx="244">
                  <c:v>45.4</c:v>
                </c:pt>
                <c:pt idx="245">
                  <c:v>47.5</c:v>
                </c:pt>
                <c:pt idx="246">
                  <c:v>51.9</c:v>
                </c:pt>
                <c:pt idx="247">
                  <c:v>53.1</c:v>
                </c:pt>
                <c:pt idx="248">
                  <c:v>53.2</c:v>
                </c:pt>
                <c:pt idx="249">
                  <c:v>53.8</c:v>
                </c:pt>
                <c:pt idx="250">
                  <c:v>51.5</c:v>
                </c:pt>
                <c:pt idx="251">
                  <c:v>52.8</c:v>
                </c:pt>
                <c:pt idx="252">
                  <c:v>55.1</c:v>
                </c:pt>
                <c:pt idx="253">
                  <c:v>56.9</c:v>
                </c:pt>
                <c:pt idx="254">
                  <c:v>59.8</c:v>
                </c:pt>
                <c:pt idx="255">
                  <c:v>60.7</c:v>
                </c:pt>
                <c:pt idx="256">
                  <c:v>62.3</c:v>
                </c:pt>
                <c:pt idx="257">
                  <c:v>62.2</c:v>
                </c:pt>
                <c:pt idx="258">
                  <c:v>60.3</c:v>
                </c:pt>
                <c:pt idx="259">
                  <c:v>60.9</c:v>
                </c:pt>
                <c:pt idx="260">
                  <c:v>59.7</c:v>
                </c:pt>
                <c:pt idx="261">
                  <c:v>61.1</c:v>
                </c:pt>
                <c:pt idx="262">
                  <c:v>62.8</c:v>
                </c:pt>
                <c:pt idx="263">
                  <c:v>62</c:v>
                </c:pt>
                <c:pt idx="264">
                  <c:v>58.3</c:v>
                </c:pt>
                <c:pt idx="265">
                  <c:v>58.3</c:v>
                </c:pt>
                <c:pt idx="266">
                  <c:v>55.8</c:v>
                </c:pt>
                <c:pt idx="267">
                  <c:v>54.5</c:v>
                </c:pt>
                <c:pt idx="268">
                  <c:v>51.9</c:v>
                </c:pt>
                <c:pt idx="269">
                  <c:v>50.9</c:v>
                </c:pt>
                <c:pt idx="270">
                  <c:v>48.5</c:v>
                </c:pt>
                <c:pt idx="271">
                  <c:v>48</c:v>
                </c:pt>
                <c:pt idx="272">
                  <c:v>48.3</c:v>
                </c:pt>
                <c:pt idx="273">
                  <c:v>46.5</c:v>
                </c:pt>
                <c:pt idx="274">
                  <c:v>48.4</c:v>
                </c:pt>
                <c:pt idx="275">
                  <c:v>48.5</c:v>
                </c:pt>
                <c:pt idx="276">
                  <c:v>#N/A</c:v>
                </c:pt>
                <c:pt idx="277">
                  <c:v>#N/A</c:v>
                </c:pt>
              </c:numCache>
            </c:numRef>
          </c:val>
          <c:smooth val="0"/>
          <c:extLst>
            <c:ext xmlns:c16="http://schemas.microsoft.com/office/drawing/2014/chart" uri="{C3380CC4-5D6E-409C-BE32-E72D297353CC}">
              <c16:uniqueId val="{00000005-DC6A-48CE-80B7-E776B228A50B}"/>
            </c:ext>
          </c:extLst>
        </c:ser>
        <c:dLbls>
          <c:showLegendKey val="0"/>
          <c:showVal val="0"/>
          <c:showCatName val="0"/>
          <c:showSerName val="0"/>
          <c:showPercent val="0"/>
          <c:showBubbleSize val="0"/>
        </c:dLbls>
        <c:smooth val="0"/>
        <c:axId val="1441900408"/>
        <c:axId val="1441899096"/>
      </c:lineChart>
      <c:dateAx>
        <c:axId val="1441900408"/>
        <c:scaling>
          <c:orientation val="minMax"/>
          <c:max val="44896"/>
          <c:min val="42005"/>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rgbClr val="696969"/>
                </a:solidFill>
                <a:latin typeface="Amalia" panose="020B0504020203020204" pitchFamily="34" charset="0"/>
                <a:ea typeface="+mn-ea"/>
                <a:cs typeface="+mn-cs"/>
              </a:defRPr>
            </a:pPr>
            <a:endParaRPr lang="de-DE"/>
          </a:p>
        </c:txPr>
        <c:crossAx val="1441899096"/>
        <c:crosses val="autoZero"/>
        <c:auto val="1"/>
        <c:lblOffset val="100"/>
        <c:baseTimeUnit val="months"/>
        <c:majorUnit val="1"/>
        <c:majorTimeUnit val="years"/>
      </c:dateAx>
      <c:valAx>
        <c:axId val="1441899096"/>
        <c:scaling>
          <c:orientation val="minMax"/>
          <c:max val="70"/>
          <c:min val="3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rgbClr val="696969"/>
                </a:solidFill>
                <a:latin typeface="Amalia" panose="020B0504020203020204" pitchFamily="34" charset="0"/>
                <a:ea typeface="+mn-ea"/>
                <a:cs typeface="+mn-cs"/>
              </a:defRPr>
            </a:pPr>
            <a:endParaRPr lang="de-DE"/>
          </a:p>
        </c:txPr>
        <c:crossAx val="1441900408"/>
        <c:crosses val="autoZero"/>
        <c:crossBetween val="between"/>
        <c:majorUnit val="10"/>
      </c:valAx>
      <c:spPr>
        <a:noFill/>
        <a:ln>
          <a:noFill/>
        </a:ln>
        <a:effectLst/>
      </c:spPr>
    </c:plotArea>
    <c:legend>
      <c:legendPos val="b"/>
      <c:legendEntry>
        <c:idx val="4"/>
        <c:delete val="1"/>
      </c:legendEntry>
      <c:overlay val="0"/>
      <c:spPr>
        <a:noFill/>
        <a:ln>
          <a:noFill/>
        </a:ln>
        <a:effectLst/>
      </c:spPr>
      <c:txPr>
        <a:bodyPr rot="0" spcFirstLastPara="1" vertOverflow="ellipsis" vert="horz" wrap="square" anchor="ctr" anchorCtr="1"/>
        <a:lstStyle/>
        <a:p>
          <a:pPr>
            <a:defRPr sz="1600" b="0" i="0" u="none" strike="noStrike" kern="1200" baseline="0">
              <a:solidFill>
                <a:srgbClr val="696969"/>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600">
          <a:solidFill>
            <a:srgbClr val="696969"/>
          </a:solidFill>
          <a:latin typeface="Amalia" panose="020B0504020203020204" pitchFamily="34" charset="0"/>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de-AT">
                <a:solidFill>
                  <a:schemeClr val="tx1">
                    <a:lumMod val="65000"/>
                    <a:lumOff val="35000"/>
                  </a:schemeClr>
                </a:solidFill>
              </a:rPr>
              <a:t>PMI Industrie Österreich: Detail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manualLayout>
          <c:layoutTarget val="inner"/>
          <c:xMode val="edge"/>
          <c:yMode val="edge"/>
          <c:x val="6.1855452830609885E-2"/>
          <c:y val="0.10809556853603237"/>
          <c:w val="0.90092752190556868"/>
          <c:h val="0.74940123413313753"/>
        </c:manualLayout>
      </c:layout>
      <c:lineChart>
        <c:grouping val="standard"/>
        <c:varyColors val="0"/>
        <c:ser>
          <c:idx val="0"/>
          <c:order val="0"/>
          <c:tx>
            <c:v>PMI: gesamt</c:v>
          </c:tx>
          <c:spPr>
            <a:ln w="28575" cap="rnd">
              <a:solidFill>
                <a:schemeClr val="accent1"/>
              </a:solidFill>
              <a:round/>
            </a:ln>
            <a:effectLst/>
          </c:spPr>
          <c:marker>
            <c:symbol val="none"/>
          </c:marker>
          <c:cat>
            <c:numRef>
              <c:f>AT_manu!$D$13:$D$114</c:f>
              <c:numCache>
                <c:formatCode>m/d/yyyy</c:formatCode>
                <c:ptCount val="102"/>
                <c:pt idx="0">
                  <c:v>44910</c:v>
                </c:pt>
                <c:pt idx="1">
                  <c:v>44880</c:v>
                </c:pt>
                <c:pt idx="2">
                  <c:v>44849</c:v>
                </c:pt>
                <c:pt idx="3">
                  <c:v>44819</c:v>
                </c:pt>
                <c:pt idx="4">
                  <c:v>44788</c:v>
                </c:pt>
                <c:pt idx="5">
                  <c:v>44757</c:v>
                </c:pt>
                <c:pt idx="6">
                  <c:v>44727</c:v>
                </c:pt>
                <c:pt idx="7">
                  <c:v>44696</c:v>
                </c:pt>
                <c:pt idx="8">
                  <c:v>44666</c:v>
                </c:pt>
                <c:pt idx="9">
                  <c:v>44635</c:v>
                </c:pt>
                <c:pt idx="10">
                  <c:v>44607</c:v>
                </c:pt>
                <c:pt idx="11">
                  <c:v>44576</c:v>
                </c:pt>
                <c:pt idx="12">
                  <c:v>44545</c:v>
                </c:pt>
                <c:pt idx="13">
                  <c:v>44515</c:v>
                </c:pt>
                <c:pt idx="14">
                  <c:v>44484</c:v>
                </c:pt>
                <c:pt idx="15">
                  <c:v>44454</c:v>
                </c:pt>
                <c:pt idx="16">
                  <c:v>44423</c:v>
                </c:pt>
                <c:pt idx="17">
                  <c:v>44392</c:v>
                </c:pt>
                <c:pt idx="18">
                  <c:v>44362</c:v>
                </c:pt>
                <c:pt idx="19">
                  <c:v>44331</c:v>
                </c:pt>
                <c:pt idx="20">
                  <c:v>44301</c:v>
                </c:pt>
                <c:pt idx="21">
                  <c:v>44270</c:v>
                </c:pt>
                <c:pt idx="22">
                  <c:v>44242</c:v>
                </c:pt>
                <c:pt idx="23">
                  <c:v>44211</c:v>
                </c:pt>
                <c:pt idx="24">
                  <c:v>44180</c:v>
                </c:pt>
                <c:pt idx="25">
                  <c:v>44150</c:v>
                </c:pt>
                <c:pt idx="26">
                  <c:v>44119</c:v>
                </c:pt>
                <c:pt idx="27">
                  <c:v>44089</c:v>
                </c:pt>
                <c:pt idx="28">
                  <c:v>44058</c:v>
                </c:pt>
                <c:pt idx="29">
                  <c:v>44027</c:v>
                </c:pt>
                <c:pt idx="30">
                  <c:v>43997</c:v>
                </c:pt>
                <c:pt idx="31">
                  <c:v>43966</c:v>
                </c:pt>
                <c:pt idx="32">
                  <c:v>43936</c:v>
                </c:pt>
                <c:pt idx="33">
                  <c:v>43905</c:v>
                </c:pt>
                <c:pt idx="34">
                  <c:v>43876</c:v>
                </c:pt>
                <c:pt idx="35">
                  <c:v>43845</c:v>
                </c:pt>
                <c:pt idx="36">
                  <c:v>43814</c:v>
                </c:pt>
                <c:pt idx="37">
                  <c:v>43784</c:v>
                </c:pt>
                <c:pt idx="38">
                  <c:v>43753</c:v>
                </c:pt>
                <c:pt idx="39">
                  <c:v>43723</c:v>
                </c:pt>
                <c:pt idx="40">
                  <c:v>43692</c:v>
                </c:pt>
                <c:pt idx="41">
                  <c:v>43661</c:v>
                </c:pt>
                <c:pt idx="42">
                  <c:v>43631</c:v>
                </c:pt>
                <c:pt idx="43">
                  <c:v>43600</c:v>
                </c:pt>
                <c:pt idx="44">
                  <c:v>43570</c:v>
                </c:pt>
                <c:pt idx="45">
                  <c:v>43539</c:v>
                </c:pt>
                <c:pt idx="46">
                  <c:v>43511</c:v>
                </c:pt>
                <c:pt idx="47">
                  <c:v>43480</c:v>
                </c:pt>
                <c:pt idx="48">
                  <c:v>43449</c:v>
                </c:pt>
                <c:pt idx="49">
                  <c:v>43419</c:v>
                </c:pt>
                <c:pt idx="50">
                  <c:v>43388</c:v>
                </c:pt>
                <c:pt idx="51">
                  <c:v>43358</c:v>
                </c:pt>
                <c:pt idx="52">
                  <c:v>43327</c:v>
                </c:pt>
                <c:pt idx="53">
                  <c:v>43296</c:v>
                </c:pt>
                <c:pt idx="54">
                  <c:v>43266</c:v>
                </c:pt>
                <c:pt idx="55">
                  <c:v>43235</c:v>
                </c:pt>
                <c:pt idx="56">
                  <c:v>43205</c:v>
                </c:pt>
                <c:pt idx="57">
                  <c:v>43174</c:v>
                </c:pt>
                <c:pt idx="58">
                  <c:v>43146</c:v>
                </c:pt>
                <c:pt idx="59">
                  <c:v>43115</c:v>
                </c:pt>
                <c:pt idx="60">
                  <c:v>43084</c:v>
                </c:pt>
                <c:pt idx="61">
                  <c:v>43054</c:v>
                </c:pt>
                <c:pt idx="62">
                  <c:v>43023</c:v>
                </c:pt>
                <c:pt idx="63">
                  <c:v>42993</c:v>
                </c:pt>
                <c:pt idx="64">
                  <c:v>42962</c:v>
                </c:pt>
                <c:pt idx="65">
                  <c:v>42931</c:v>
                </c:pt>
                <c:pt idx="66">
                  <c:v>42901</c:v>
                </c:pt>
                <c:pt idx="67">
                  <c:v>42870</c:v>
                </c:pt>
                <c:pt idx="68">
                  <c:v>42840</c:v>
                </c:pt>
                <c:pt idx="69">
                  <c:v>42809</c:v>
                </c:pt>
                <c:pt idx="70">
                  <c:v>42781</c:v>
                </c:pt>
                <c:pt idx="71">
                  <c:v>42750</c:v>
                </c:pt>
                <c:pt idx="72">
                  <c:v>42719</c:v>
                </c:pt>
                <c:pt idx="73">
                  <c:v>42689</c:v>
                </c:pt>
                <c:pt idx="74">
                  <c:v>42658</c:v>
                </c:pt>
                <c:pt idx="75">
                  <c:v>42628</c:v>
                </c:pt>
                <c:pt idx="76">
                  <c:v>42597</c:v>
                </c:pt>
                <c:pt idx="77">
                  <c:v>42566</c:v>
                </c:pt>
                <c:pt idx="78">
                  <c:v>42536</c:v>
                </c:pt>
                <c:pt idx="79">
                  <c:v>42505</c:v>
                </c:pt>
                <c:pt idx="80">
                  <c:v>42475</c:v>
                </c:pt>
                <c:pt idx="81">
                  <c:v>42444</c:v>
                </c:pt>
                <c:pt idx="82">
                  <c:v>42415</c:v>
                </c:pt>
                <c:pt idx="83">
                  <c:v>42384</c:v>
                </c:pt>
                <c:pt idx="84">
                  <c:v>42353</c:v>
                </c:pt>
                <c:pt idx="85">
                  <c:v>42323</c:v>
                </c:pt>
                <c:pt idx="86">
                  <c:v>42292</c:v>
                </c:pt>
                <c:pt idx="87">
                  <c:v>42262</c:v>
                </c:pt>
                <c:pt idx="88">
                  <c:v>42231</c:v>
                </c:pt>
                <c:pt idx="89">
                  <c:v>42200</c:v>
                </c:pt>
                <c:pt idx="90">
                  <c:v>42170</c:v>
                </c:pt>
                <c:pt idx="91">
                  <c:v>42139</c:v>
                </c:pt>
                <c:pt idx="92">
                  <c:v>42109</c:v>
                </c:pt>
                <c:pt idx="93">
                  <c:v>42078</c:v>
                </c:pt>
                <c:pt idx="94">
                  <c:v>42050</c:v>
                </c:pt>
                <c:pt idx="95">
                  <c:v>42019</c:v>
                </c:pt>
                <c:pt idx="96">
                  <c:v>41988</c:v>
                </c:pt>
                <c:pt idx="97">
                  <c:v>41958</c:v>
                </c:pt>
                <c:pt idx="98">
                  <c:v>41927</c:v>
                </c:pt>
                <c:pt idx="99">
                  <c:v>41897</c:v>
                </c:pt>
                <c:pt idx="100">
                  <c:v>41866</c:v>
                </c:pt>
                <c:pt idx="101">
                  <c:v>41835</c:v>
                </c:pt>
              </c:numCache>
            </c:numRef>
          </c:cat>
          <c:val>
            <c:numRef>
              <c:f>AT_manu!$E$13:$E$114</c:f>
              <c:numCache>
                <c:formatCode>0.0</c:formatCode>
                <c:ptCount val="102"/>
                <c:pt idx="0">
                  <c:v>47.3</c:v>
                </c:pt>
                <c:pt idx="1">
                  <c:v>46.6</c:v>
                </c:pt>
                <c:pt idx="2">
                  <c:v>46.6</c:v>
                </c:pt>
                <c:pt idx="3">
                  <c:v>48.8</c:v>
                </c:pt>
                <c:pt idx="4">
                  <c:v>48.8</c:v>
                </c:pt>
                <c:pt idx="5">
                  <c:v>51.7</c:v>
                </c:pt>
                <c:pt idx="6">
                  <c:v>51.2</c:v>
                </c:pt>
                <c:pt idx="7">
                  <c:v>56.6</c:v>
                </c:pt>
                <c:pt idx="8">
                  <c:v>57.9</c:v>
                </c:pt>
                <c:pt idx="9">
                  <c:v>59.3</c:v>
                </c:pt>
                <c:pt idx="10">
                  <c:v>58.4</c:v>
                </c:pt>
                <c:pt idx="11">
                  <c:v>61.5</c:v>
                </c:pt>
                <c:pt idx="12">
                  <c:v>58.7</c:v>
                </c:pt>
                <c:pt idx="13">
                  <c:v>58.1</c:v>
                </c:pt>
                <c:pt idx="14">
                  <c:v>60.6</c:v>
                </c:pt>
                <c:pt idx="15">
                  <c:v>62.8</c:v>
                </c:pt>
                <c:pt idx="16">
                  <c:v>61.8</c:v>
                </c:pt>
                <c:pt idx="17">
                  <c:v>63.9</c:v>
                </c:pt>
                <c:pt idx="18">
                  <c:v>67</c:v>
                </c:pt>
                <c:pt idx="19">
                  <c:v>66.400000000000006</c:v>
                </c:pt>
                <c:pt idx="20">
                  <c:v>64.7</c:v>
                </c:pt>
                <c:pt idx="21">
                  <c:v>63.4</c:v>
                </c:pt>
                <c:pt idx="22">
                  <c:v>58.3</c:v>
                </c:pt>
                <c:pt idx="23">
                  <c:v>54.2</c:v>
                </c:pt>
                <c:pt idx="24">
                  <c:v>53.5</c:v>
                </c:pt>
                <c:pt idx="25">
                  <c:v>51.7</c:v>
                </c:pt>
                <c:pt idx="26">
                  <c:v>54</c:v>
                </c:pt>
                <c:pt idx="27">
                  <c:v>51.7</c:v>
                </c:pt>
                <c:pt idx="28">
                  <c:v>51</c:v>
                </c:pt>
                <c:pt idx="29">
                  <c:v>52.8</c:v>
                </c:pt>
                <c:pt idx="30">
                  <c:v>46.5</c:v>
                </c:pt>
                <c:pt idx="31">
                  <c:v>40.4</c:v>
                </c:pt>
                <c:pt idx="32">
                  <c:v>31.6</c:v>
                </c:pt>
                <c:pt idx="33">
                  <c:v>45.8</c:v>
                </c:pt>
                <c:pt idx="34">
                  <c:v>50.2</c:v>
                </c:pt>
                <c:pt idx="35">
                  <c:v>49.2</c:v>
                </c:pt>
                <c:pt idx="36">
                  <c:v>46</c:v>
                </c:pt>
                <c:pt idx="37">
                  <c:v>46</c:v>
                </c:pt>
                <c:pt idx="38">
                  <c:v>45.5</c:v>
                </c:pt>
                <c:pt idx="39">
                  <c:v>45.1</c:v>
                </c:pt>
                <c:pt idx="40">
                  <c:v>47.9</c:v>
                </c:pt>
                <c:pt idx="41">
                  <c:v>47</c:v>
                </c:pt>
                <c:pt idx="42">
                  <c:v>47.5</c:v>
                </c:pt>
                <c:pt idx="43">
                  <c:v>48.3</c:v>
                </c:pt>
                <c:pt idx="44">
                  <c:v>49.2</c:v>
                </c:pt>
                <c:pt idx="45">
                  <c:v>50</c:v>
                </c:pt>
                <c:pt idx="46">
                  <c:v>51.8</c:v>
                </c:pt>
                <c:pt idx="47">
                  <c:v>52.7</c:v>
                </c:pt>
                <c:pt idx="48">
                  <c:v>53.9</c:v>
                </c:pt>
                <c:pt idx="49">
                  <c:v>54.9</c:v>
                </c:pt>
                <c:pt idx="50">
                  <c:v>53.8</c:v>
                </c:pt>
                <c:pt idx="51">
                  <c:v>55</c:v>
                </c:pt>
                <c:pt idx="52">
                  <c:v>56.4</c:v>
                </c:pt>
                <c:pt idx="53">
                  <c:v>56.8</c:v>
                </c:pt>
                <c:pt idx="54">
                  <c:v>56.6</c:v>
                </c:pt>
                <c:pt idx="55">
                  <c:v>57.3</c:v>
                </c:pt>
                <c:pt idx="56">
                  <c:v>58</c:v>
                </c:pt>
                <c:pt idx="57">
                  <c:v>58</c:v>
                </c:pt>
                <c:pt idx="58">
                  <c:v>59.2</c:v>
                </c:pt>
                <c:pt idx="59">
                  <c:v>61.3</c:v>
                </c:pt>
                <c:pt idx="60">
                  <c:v>64.3</c:v>
                </c:pt>
                <c:pt idx="61">
                  <c:v>61.9</c:v>
                </c:pt>
                <c:pt idx="62">
                  <c:v>59.4</c:v>
                </c:pt>
                <c:pt idx="63">
                  <c:v>59.4</c:v>
                </c:pt>
                <c:pt idx="64">
                  <c:v>61.1</c:v>
                </c:pt>
                <c:pt idx="65">
                  <c:v>60</c:v>
                </c:pt>
                <c:pt idx="66">
                  <c:v>60.7</c:v>
                </c:pt>
                <c:pt idx="67">
                  <c:v>58</c:v>
                </c:pt>
                <c:pt idx="68">
                  <c:v>58.1</c:v>
                </c:pt>
                <c:pt idx="69">
                  <c:v>56.8</c:v>
                </c:pt>
                <c:pt idx="70">
                  <c:v>57.2</c:v>
                </c:pt>
                <c:pt idx="71">
                  <c:v>57.3</c:v>
                </c:pt>
                <c:pt idx="72">
                  <c:v>56.3</c:v>
                </c:pt>
                <c:pt idx="73">
                  <c:v>55.4</c:v>
                </c:pt>
                <c:pt idx="74">
                  <c:v>53.9</c:v>
                </c:pt>
                <c:pt idx="75">
                  <c:v>53.5</c:v>
                </c:pt>
                <c:pt idx="76">
                  <c:v>52.1</c:v>
                </c:pt>
                <c:pt idx="77">
                  <c:v>53.4</c:v>
                </c:pt>
                <c:pt idx="78">
                  <c:v>54.5</c:v>
                </c:pt>
                <c:pt idx="79">
                  <c:v>52</c:v>
                </c:pt>
                <c:pt idx="80">
                  <c:v>52</c:v>
                </c:pt>
                <c:pt idx="81">
                  <c:v>52.8</c:v>
                </c:pt>
                <c:pt idx="82">
                  <c:v>51.9</c:v>
                </c:pt>
                <c:pt idx="83">
                  <c:v>51.2</c:v>
                </c:pt>
                <c:pt idx="84">
                  <c:v>50.6</c:v>
                </c:pt>
                <c:pt idx="85">
                  <c:v>51.4</c:v>
                </c:pt>
                <c:pt idx="86">
                  <c:v>53</c:v>
                </c:pt>
                <c:pt idx="87">
                  <c:v>52.5</c:v>
                </c:pt>
                <c:pt idx="88">
                  <c:v>50.5</c:v>
                </c:pt>
                <c:pt idx="89">
                  <c:v>52.4</c:v>
                </c:pt>
                <c:pt idx="90">
                  <c:v>51.2</c:v>
                </c:pt>
                <c:pt idx="91">
                  <c:v>50.3</c:v>
                </c:pt>
                <c:pt idx="92">
                  <c:v>50.1</c:v>
                </c:pt>
                <c:pt idx="93">
                  <c:v>47.7</c:v>
                </c:pt>
                <c:pt idx="94">
                  <c:v>48.7</c:v>
                </c:pt>
                <c:pt idx="95">
                  <c:v>48.5</c:v>
                </c:pt>
                <c:pt idx="96">
                  <c:v>49.2</c:v>
                </c:pt>
                <c:pt idx="97">
                  <c:v>47.4</c:v>
                </c:pt>
                <c:pt idx="98">
                  <c:v>46.9</c:v>
                </c:pt>
                <c:pt idx="99">
                  <c:v>47.9</c:v>
                </c:pt>
                <c:pt idx="100">
                  <c:v>50.9</c:v>
                </c:pt>
                <c:pt idx="101">
                  <c:v>50.9</c:v>
                </c:pt>
              </c:numCache>
            </c:numRef>
          </c:val>
          <c:smooth val="0"/>
          <c:extLst>
            <c:ext xmlns:c16="http://schemas.microsoft.com/office/drawing/2014/chart" uri="{C3380CC4-5D6E-409C-BE32-E72D297353CC}">
              <c16:uniqueId val="{00000000-67CF-4AB1-AAC2-7239C912F0DD}"/>
            </c:ext>
          </c:extLst>
        </c:ser>
        <c:ser>
          <c:idx val="1"/>
          <c:order val="1"/>
          <c:tx>
            <c:v>PMI: Produktion</c:v>
          </c:tx>
          <c:spPr>
            <a:ln w="28575" cap="rnd">
              <a:solidFill>
                <a:schemeClr val="accent2"/>
              </a:solidFill>
              <a:round/>
            </a:ln>
            <a:effectLst/>
          </c:spPr>
          <c:marker>
            <c:symbol val="none"/>
          </c:marker>
          <c:cat>
            <c:numRef>
              <c:f>AT_manu!$D$13:$D$114</c:f>
              <c:numCache>
                <c:formatCode>m/d/yyyy</c:formatCode>
                <c:ptCount val="102"/>
                <c:pt idx="0">
                  <c:v>44910</c:v>
                </c:pt>
                <c:pt idx="1">
                  <c:v>44880</c:v>
                </c:pt>
                <c:pt idx="2">
                  <c:v>44849</c:v>
                </c:pt>
                <c:pt idx="3">
                  <c:v>44819</c:v>
                </c:pt>
                <c:pt idx="4">
                  <c:v>44788</c:v>
                </c:pt>
                <c:pt idx="5">
                  <c:v>44757</c:v>
                </c:pt>
                <c:pt idx="6">
                  <c:v>44727</c:v>
                </c:pt>
                <c:pt idx="7">
                  <c:v>44696</c:v>
                </c:pt>
                <c:pt idx="8">
                  <c:v>44666</c:v>
                </c:pt>
                <c:pt idx="9">
                  <c:v>44635</c:v>
                </c:pt>
                <c:pt idx="10">
                  <c:v>44607</c:v>
                </c:pt>
                <c:pt idx="11">
                  <c:v>44576</c:v>
                </c:pt>
                <c:pt idx="12">
                  <c:v>44545</c:v>
                </c:pt>
                <c:pt idx="13">
                  <c:v>44515</c:v>
                </c:pt>
                <c:pt idx="14">
                  <c:v>44484</c:v>
                </c:pt>
                <c:pt idx="15">
                  <c:v>44454</c:v>
                </c:pt>
                <c:pt idx="16">
                  <c:v>44423</c:v>
                </c:pt>
                <c:pt idx="17">
                  <c:v>44392</c:v>
                </c:pt>
                <c:pt idx="18">
                  <c:v>44362</c:v>
                </c:pt>
                <c:pt idx="19">
                  <c:v>44331</c:v>
                </c:pt>
                <c:pt idx="20">
                  <c:v>44301</c:v>
                </c:pt>
                <c:pt idx="21">
                  <c:v>44270</c:v>
                </c:pt>
                <c:pt idx="22">
                  <c:v>44242</c:v>
                </c:pt>
                <c:pt idx="23">
                  <c:v>44211</c:v>
                </c:pt>
                <c:pt idx="24">
                  <c:v>44180</c:v>
                </c:pt>
                <c:pt idx="25">
                  <c:v>44150</c:v>
                </c:pt>
                <c:pt idx="26">
                  <c:v>44119</c:v>
                </c:pt>
                <c:pt idx="27">
                  <c:v>44089</c:v>
                </c:pt>
                <c:pt idx="28">
                  <c:v>44058</c:v>
                </c:pt>
                <c:pt idx="29">
                  <c:v>44027</c:v>
                </c:pt>
                <c:pt idx="30">
                  <c:v>43997</c:v>
                </c:pt>
                <c:pt idx="31">
                  <c:v>43966</c:v>
                </c:pt>
                <c:pt idx="32">
                  <c:v>43936</c:v>
                </c:pt>
                <c:pt idx="33">
                  <c:v>43905</c:v>
                </c:pt>
                <c:pt idx="34">
                  <c:v>43876</c:v>
                </c:pt>
                <c:pt idx="35">
                  <c:v>43845</c:v>
                </c:pt>
                <c:pt idx="36">
                  <c:v>43814</c:v>
                </c:pt>
                <c:pt idx="37">
                  <c:v>43784</c:v>
                </c:pt>
                <c:pt idx="38">
                  <c:v>43753</c:v>
                </c:pt>
                <c:pt idx="39">
                  <c:v>43723</c:v>
                </c:pt>
                <c:pt idx="40">
                  <c:v>43692</c:v>
                </c:pt>
                <c:pt idx="41">
                  <c:v>43661</c:v>
                </c:pt>
                <c:pt idx="42">
                  <c:v>43631</c:v>
                </c:pt>
                <c:pt idx="43">
                  <c:v>43600</c:v>
                </c:pt>
                <c:pt idx="44">
                  <c:v>43570</c:v>
                </c:pt>
                <c:pt idx="45">
                  <c:v>43539</c:v>
                </c:pt>
                <c:pt idx="46">
                  <c:v>43511</c:v>
                </c:pt>
                <c:pt idx="47">
                  <c:v>43480</c:v>
                </c:pt>
                <c:pt idx="48">
                  <c:v>43449</c:v>
                </c:pt>
                <c:pt idx="49">
                  <c:v>43419</c:v>
                </c:pt>
                <c:pt idx="50">
                  <c:v>43388</c:v>
                </c:pt>
                <c:pt idx="51">
                  <c:v>43358</c:v>
                </c:pt>
                <c:pt idx="52">
                  <c:v>43327</c:v>
                </c:pt>
                <c:pt idx="53">
                  <c:v>43296</c:v>
                </c:pt>
                <c:pt idx="54">
                  <c:v>43266</c:v>
                </c:pt>
                <c:pt idx="55">
                  <c:v>43235</c:v>
                </c:pt>
                <c:pt idx="56">
                  <c:v>43205</c:v>
                </c:pt>
                <c:pt idx="57">
                  <c:v>43174</c:v>
                </c:pt>
                <c:pt idx="58">
                  <c:v>43146</c:v>
                </c:pt>
                <c:pt idx="59">
                  <c:v>43115</c:v>
                </c:pt>
                <c:pt idx="60">
                  <c:v>43084</c:v>
                </c:pt>
                <c:pt idx="61">
                  <c:v>43054</c:v>
                </c:pt>
                <c:pt idx="62">
                  <c:v>43023</c:v>
                </c:pt>
                <c:pt idx="63">
                  <c:v>42993</c:v>
                </c:pt>
                <c:pt idx="64">
                  <c:v>42962</c:v>
                </c:pt>
                <c:pt idx="65">
                  <c:v>42931</c:v>
                </c:pt>
                <c:pt idx="66">
                  <c:v>42901</c:v>
                </c:pt>
                <c:pt idx="67">
                  <c:v>42870</c:v>
                </c:pt>
                <c:pt idx="68">
                  <c:v>42840</c:v>
                </c:pt>
                <c:pt idx="69">
                  <c:v>42809</c:v>
                </c:pt>
                <c:pt idx="70">
                  <c:v>42781</c:v>
                </c:pt>
                <c:pt idx="71">
                  <c:v>42750</c:v>
                </c:pt>
                <c:pt idx="72">
                  <c:v>42719</c:v>
                </c:pt>
                <c:pt idx="73">
                  <c:v>42689</c:v>
                </c:pt>
                <c:pt idx="74">
                  <c:v>42658</c:v>
                </c:pt>
                <c:pt idx="75">
                  <c:v>42628</c:v>
                </c:pt>
                <c:pt idx="76">
                  <c:v>42597</c:v>
                </c:pt>
                <c:pt idx="77">
                  <c:v>42566</c:v>
                </c:pt>
                <c:pt idx="78">
                  <c:v>42536</c:v>
                </c:pt>
                <c:pt idx="79">
                  <c:v>42505</c:v>
                </c:pt>
                <c:pt idx="80">
                  <c:v>42475</c:v>
                </c:pt>
                <c:pt idx="81">
                  <c:v>42444</c:v>
                </c:pt>
                <c:pt idx="82">
                  <c:v>42415</c:v>
                </c:pt>
                <c:pt idx="83">
                  <c:v>42384</c:v>
                </c:pt>
                <c:pt idx="84">
                  <c:v>42353</c:v>
                </c:pt>
                <c:pt idx="85">
                  <c:v>42323</c:v>
                </c:pt>
                <c:pt idx="86">
                  <c:v>42292</c:v>
                </c:pt>
                <c:pt idx="87">
                  <c:v>42262</c:v>
                </c:pt>
                <c:pt idx="88">
                  <c:v>42231</c:v>
                </c:pt>
                <c:pt idx="89">
                  <c:v>42200</c:v>
                </c:pt>
                <c:pt idx="90">
                  <c:v>42170</c:v>
                </c:pt>
                <c:pt idx="91">
                  <c:v>42139</c:v>
                </c:pt>
                <c:pt idx="92">
                  <c:v>42109</c:v>
                </c:pt>
                <c:pt idx="93">
                  <c:v>42078</c:v>
                </c:pt>
                <c:pt idx="94">
                  <c:v>42050</c:v>
                </c:pt>
                <c:pt idx="95">
                  <c:v>42019</c:v>
                </c:pt>
                <c:pt idx="96">
                  <c:v>41988</c:v>
                </c:pt>
                <c:pt idx="97">
                  <c:v>41958</c:v>
                </c:pt>
                <c:pt idx="98">
                  <c:v>41927</c:v>
                </c:pt>
                <c:pt idx="99">
                  <c:v>41897</c:v>
                </c:pt>
                <c:pt idx="100">
                  <c:v>41866</c:v>
                </c:pt>
                <c:pt idx="101">
                  <c:v>41835</c:v>
                </c:pt>
              </c:numCache>
            </c:numRef>
          </c:cat>
          <c:val>
            <c:numRef>
              <c:f>AT_manu!$F$13:$F$114</c:f>
              <c:numCache>
                <c:formatCode>0.0</c:formatCode>
                <c:ptCount val="102"/>
                <c:pt idx="0">
                  <c:v>48.14</c:v>
                </c:pt>
                <c:pt idx="1">
                  <c:v>45.54</c:v>
                </c:pt>
                <c:pt idx="2">
                  <c:v>45.07</c:v>
                </c:pt>
                <c:pt idx="3">
                  <c:v>46.72</c:v>
                </c:pt>
                <c:pt idx="4">
                  <c:v>45.84</c:v>
                </c:pt>
                <c:pt idx="5">
                  <c:v>49.41</c:v>
                </c:pt>
                <c:pt idx="6">
                  <c:v>48.41</c:v>
                </c:pt>
                <c:pt idx="7">
                  <c:v>53.59</c:v>
                </c:pt>
                <c:pt idx="8">
                  <c:v>52.65</c:v>
                </c:pt>
                <c:pt idx="9">
                  <c:v>54.47</c:v>
                </c:pt>
                <c:pt idx="10">
                  <c:v>53.9</c:v>
                </c:pt>
                <c:pt idx="11">
                  <c:v>58.37</c:v>
                </c:pt>
                <c:pt idx="12">
                  <c:v>53.86</c:v>
                </c:pt>
                <c:pt idx="13">
                  <c:v>50.21</c:v>
                </c:pt>
                <c:pt idx="14">
                  <c:v>55.06</c:v>
                </c:pt>
                <c:pt idx="15">
                  <c:v>59.23</c:v>
                </c:pt>
                <c:pt idx="16">
                  <c:v>56.04</c:v>
                </c:pt>
                <c:pt idx="17">
                  <c:v>59.18</c:v>
                </c:pt>
                <c:pt idx="18">
                  <c:v>61.72</c:v>
                </c:pt>
                <c:pt idx="19">
                  <c:v>64.760000000000005</c:v>
                </c:pt>
                <c:pt idx="20">
                  <c:v>62.41</c:v>
                </c:pt>
                <c:pt idx="21">
                  <c:v>62.93</c:v>
                </c:pt>
                <c:pt idx="22">
                  <c:v>56.94</c:v>
                </c:pt>
                <c:pt idx="23">
                  <c:v>51.81</c:v>
                </c:pt>
                <c:pt idx="24">
                  <c:v>52.75</c:v>
                </c:pt>
                <c:pt idx="25">
                  <c:v>52.71</c:v>
                </c:pt>
                <c:pt idx="26">
                  <c:v>55.6</c:v>
                </c:pt>
                <c:pt idx="27">
                  <c:v>53.61</c:v>
                </c:pt>
                <c:pt idx="28">
                  <c:v>55.51</c:v>
                </c:pt>
                <c:pt idx="29">
                  <c:v>57.21</c:v>
                </c:pt>
                <c:pt idx="30">
                  <c:v>45.91</c:v>
                </c:pt>
                <c:pt idx="31">
                  <c:v>36.46</c:v>
                </c:pt>
                <c:pt idx="32">
                  <c:v>17.190000000000001</c:v>
                </c:pt>
                <c:pt idx="33">
                  <c:v>42.53</c:v>
                </c:pt>
                <c:pt idx="34">
                  <c:v>51.45</c:v>
                </c:pt>
                <c:pt idx="35">
                  <c:v>49.95</c:v>
                </c:pt>
                <c:pt idx="36">
                  <c:v>46.49</c:v>
                </c:pt>
                <c:pt idx="37">
                  <c:v>46.79</c:v>
                </c:pt>
                <c:pt idx="38">
                  <c:v>47.01</c:v>
                </c:pt>
                <c:pt idx="39">
                  <c:v>46.38</c:v>
                </c:pt>
                <c:pt idx="40">
                  <c:v>48.95</c:v>
                </c:pt>
                <c:pt idx="41">
                  <c:v>49.48</c:v>
                </c:pt>
                <c:pt idx="42">
                  <c:v>48.7</c:v>
                </c:pt>
                <c:pt idx="43">
                  <c:v>48.48</c:v>
                </c:pt>
                <c:pt idx="44">
                  <c:v>50.29</c:v>
                </c:pt>
                <c:pt idx="45">
                  <c:v>51.68</c:v>
                </c:pt>
                <c:pt idx="46">
                  <c:v>53.87</c:v>
                </c:pt>
                <c:pt idx="47">
                  <c:v>54.1</c:v>
                </c:pt>
                <c:pt idx="48">
                  <c:v>53.87</c:v>
                </c:pt>
                <c:pt idx="49">
                  <c:v>54.84</c:v>
                </c:pt>
                <c:pt idx="50">
                  <c:v>53.51</c:v>
                </c:pt>
                <c:pt idx="51">
                  <c:v>53.5</c:v>
                </c:pt>
                <c:pt idx="52">
                  <c:v>56.78</c:v>
                </c:pt>
                <c:pt idx="53">
                  <c:v>56.19</c:v>
                </c:pt>
                <c:pt idx="54">
                  <c:v>55.98</c:v>
                </c:pt>
                <c:pt idx="55">
                  <c:v>54.98</c:v>
                </c:pt>
                <c:pt idx="56">
                  <c:v>56.79</c:v>
                </c:pt>
                <c:pt idx="57">
                  <c:v>55.52</c:v>
                </c:pt>
                <c:pt idx="58">
                  <c:v>56.96</c:v>
                </c:pt>
                <c:pt idx="59">
                  <c:v>61.1</c:v>
                </c:pt>
                <c:pt idx="60">
                  <c:v>63.6</c:v>
                </c:pt>
                <c:pt idx="61">
                  <c:v>61.25</c:v>
                </c:pt>
                <c:pt idx="62">
                  <c:v>58.83</c:v>
                </c:pt>
                <c:pt idx="63">
                  <c:v>59.75</c:v>
                </c:pt>
                <c:pt idx="64">
                  <c:v>61.7</c:v>
                </c:pt>
                <c:pt idx="65">
                  <c:v>60.62</c:v>
                </c:pt>
                <c:pt idx="66">
                  <c:v>62.16</c:v>
                </c:pt>
                <c:pt idx="67">
                  <c:v>58.81</c:v>
                </c:pt>
                <c:pt idx="68">
                  <c:v>57.93</c:v>
                </c:pt>
                <c:pt idx="69">
                  <c:v>57.41</c:v>
                </c:pt>
                <c:pt idx="70">
                  <c:v>59.12</c:v>
                </c:pt>
                <c:pt idx="71">
                  <c:v>59.46</c:v>
                </c:pt>
                <c:pt idx="72">
                  <c:v>57.99</c:v>
                </c:pt>
                <c:pt idx="73">
                  <c:v>55.65</c:v>
                </c:pt>
                <c:pt idx="74">
                  <c:v>54.54</c:v>
                </c:pt>
                <c:pt idx="75">
                  <c:v>54.61</c:v>
                </c:pt>
                <c:pt idx="76">
                  <c:v>52.43</c:v>
                </c:pt>
                <c:pt idx="77">
                  <c:v>55.11</c:v>
                </c:pt>
                <c:pt idx="78">
                  <c:v>56.3</c:v>
                </c:pt>
                <c:pt idx="79">
                  <c:v>53.95</c:v>
                </c:pt>
                <c:pt idx="80">
                  <c:v>53.52</c:v>
                </c:pt>
                <c:pt idx="81">
                  <c:v>56.01</c:v>
                </c:pt>
                <c:pt idx="82">
                  <c:v>55.12</c:v>
                </c:pt>
                <c:pt idx="83">
                  <c:v>54.24</c:v>
                </c:pt>
                <c:pt idx="84">
                  <c:v>51.87</c:v>
                </c:pt>
                <c:pt idx="85">
                  <c:v>53.34</c:v>
                </c:pt>
                <c:pt idx="86">
                  <c:v>54.6</c:v>
                </c:pt>
                <c:pt idx="87">
                  <c:v>53.06</c:v>
                </c:pt>
                <c:pt idx="88">
                  <c:v>51.19</c:v>
                </c:pt>
                <c:pt idx="89">
                  <c:v>54.12</c:v>
                </c:pt>
                <c:pt idx="90">
                  <c:v>51.8</c:v>
                </c:pt>
                <c:pt idx="91">
                  <c:v>52.26</c:v>
                </c:pt>
                <c:pt idx="92">
                  <c:v>51.7</c:v>
                </c:pt>
                <c:pt idx="93">
                  <c:v>47.56</c:v>
                </c:pt>
                <c:pt idx="94">
                  <c:v>49.63</c:v>
                </c:pt>
                <c:pt idx="95">
                  <c:v>48.62</c:v>
                </c:pt>
                <c:pt idx="96">
                  <c:v>50.53</c:v>
                </c:pt>
                <c:pt idx="97">
                  <c:v>48.04</c:v>
                </c:pt>
                <c:pt idx="98">
                  <c:v>47.52</c:v>
                </c:pt>
                <c:pt idx="99">
                  <c:v>48.32</c:v>
                </c:pt>
                <c:pt idx="100">
                  <c:v>53.53</c:v>
                </c:pt>
                <c:pt idx="101">
                  <c:v>53.74</c:v>
                </c:pt>
              </c:numCache>
            </c:numRef>
          </c:val>
          <c:smooth val="0"/>
          <c:extLst>
            <c:ext xmlns:c16="http://schemas.microsoft.com/office/drawing/2014/chart" uri="{C3380CC4-5D6E-409C-BE32-E72D297353CC}">
              <c16:uniqueId val="{00000001-67CF-4AB1-AAC2-7239C912F0DD}"/>
            </c:ext>
          </c:extLst>
        </c:ser>
        <c:ser>
          <c:idx val="2"/>
          <c:order val="2"/>
          <c:tx>
            <c:v>PMI: Auftragseingang</c:v>
          </c:tx>
          <c:spPr>
            <a:ln w="28575" cap="rnd">
              <a:solidFill>
                <a:schemeClr val="accent3"/>
              </a:solidFill>
              <a:round/>
            </a:ln>
            <a:effectLst/>
          </c:spPr>
          <c:marker>
            <c:symbol val="none"/>
          </c:marker>
          <c:dLbls>
            <c:dLbl>
              <c:idx val="99"/>
              <c:layout>
                <c:manualLayout>
                  <c:x val="-4.7583639408432951E-2"/>
                  <c:y val="2.6883365450968935E-2"/>
                </c:manualLayout>
              </c:layout>
              <c:tx>
                <c:rich>
                  <a:bodyPr/>
                  <a:lstStyle/>
                  <a:p>
                    <a:r>
                      <a:rPr lang="en-US" err="1"/>
                      <a:t>Okt</a:t>
                    </a:r>
                    <a:r>
                      <a:rPr lang="en-US"/>
                      <a:t>. 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7CF-4AB1-AAC2-7239C912F0DD}"/>
                </c:ext>
              </c:extLst>
            </c:dLbl>
            <c:dLbl>
              <c:idx val="101"/>
              <c:layout>
                <c:manualLayout>
                  <c:x val="-1.7843864778162358E-2"/>
                  <c:y val="-6.5986442470560111E-2"/>
                </c:manualLayout>
              </c:layout>
              <c:tx>
                <c:rich>
                  <a:bodyPr/>
                  <a:lstStyle/>
                  <a:p>
                    <a:r>
                      <a:rPr lang="en-US"/>
                      <a:t>Dez. 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7CF-4AB1-AAC2-7239C912F0D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T_manu!$D$13:$D$114</c:f>
              <c:numCache>
                <c:formatCode>m/d/yyyy</c:formatCode>
                <c:ptCount val="102"/>
                <c:pt idx="0">
                  <c:v>44910</c:v>
                </c:pt>
                <c:pt idx="1">
                  <c:v>44880</c:v>
                </c:pt>
                <c:pt idx="2">
                  <c:v>44849</c:v>
                </c:pt>
                <c:pt idx="3">
                  <c:v>44819</c:v>
                </c:pt>
                <c:pt idx="4">
                  <c:v>44788</c:v>
                </c:pt>
                <c:pt idx="5">
                  <c:v>44757</c:v>
                </c:pt>
                <c:pt idx="6">
                  <c:v>44727</c:v>
                </c:pt>
                <c:pt idx="7">
                  <c:v>44696</c:v>
                </c:pt>
                <c:pt idx="8">
                  <c:v>44666</c:v>
                </c:pt>
                <c:pt idx="9">
                  <c:v>44635</c:v>
                </c:pt>
                <c:pt idx="10">
                  <c:v>44607</c:v>
                </c:pt>
                <c:pt idx="11">
                  <c:v>44576</c:v>
                </c:pt>
                <c:pt idx="12">
                  <c:v>44545</c:v>
                </c:pt>
                <c:pt idx="13">
                  <c:v>44515</c:v>
                </c:pt>
                <c:pt idx="14">
                  <c:v>44484</c:v>
                </c:pt>
                <c:pt idx="15">
                  <c:v>44454</c:v>
                </c:pt>
                <c:pt idx="16">
                  <c:v>44423</c:v>
                </c:pt>
                <c:pt idx="17">
                  <c:v>44392</c:v>
                </c:pt>
                <c:pt idx="18">
                  <c:v>44362</c:v>
                </c:pt>
                <c:pt idx="19">
                  <c:v>44331</c:v>
                </c:pt>
                <c:pt idx="20">
                  <c:v>44301</c:v>
                </c:pt>
                <c:pt idx="21">
                  <c:v>44270</c:v>
                </c:pt>
                <c:pt idx="22">
                  <c:v>44242</c:v>
                </c:pt>
                <c:pt idx="23">
                  <c:v>44211</c:v>
                </c:pt>
                <c:pt idx="24">
                  <c:v>44180</c:v>
                </c:pt>
                <c:pt idx="25">
                  <c:v>44150</c:v>
                </c:pt>
                <c:pt idx="26">
                  <c:v>44119</c:v>
                </c:pt>
                <c:pt idx="27">
                  <c:v>44089</c:v>
                </c:pt>
                <c:pt idx="28">
                  <c:v>44058</c:v>
                </c:pt>
                <c:pt idx="29">
                  <c:v>44027</c:v>
                </c:pt>
                <c:pt idx="30">
                  <c:v>43997</c:v>
                </c:pt>
                <c:pt idx="31">
                  <c:v>43966</c:v>
                </c:pt>
                <c:pt idx="32">
                  <c:v>43936</c:v>
                </c:pt>
                <c:pt idx="33">
                  <c:v>43905</c:v>
                </c:pt>
                <c:pt idx="34">
                  <c:v>43876</c:v>
                </c:pt>
                <c:pt idx="35">
                  <c:v>43845</c:v>
                </c:pt>
                <c:pt idx="36">
                  <c:v>43814</c:v>
                </c:pt>
                <c:pt idx="37">
                  <c:v>43784</c:v>
                </c:pt>
                <c:pt idx="38">
                  <c:v>43753</c:v>
                </c:pt>
                <c:pt idx="39">
                  <c:v>43723</c:v>
                </c:pt>
                <c:pt idx="40">
                  <c:v>43692</c:v>
                </c:pt>
                <c:pt idx="41">
                  <c:v>43661</c:v>
                </c:pt>
                <c:pt idx="42">
                  <c:v>43631</c:v>
                </c:pt>
                <c:pt idx="43">
                  <c:v>43600</c:v>
                </c:pt>
                <c:pt idx="44">
                  <c:v>43570</c:v>
                </c:pt>
                <c:pt idx="45">
                  <c:v>43539</c:v>
                </c:pt>
                <c:pt idx="46">
                  <c:v>43511</c:v>
                </c:pt>
                <c:pt idx="47">
                  <c:v>43480</c:v>
                </c:pt>
                <c:pt idx="48">
                  <c:v>43449</c:v>
                </c:pt>
                <c:pt idx="49">
                  <c:v>43419</c:v>
                </c:pt>
                <c:pt idx="50">
                  <c:v>43388</c:v>
                </c:pt>
                <c:pt idx="51">
                  <c:v>43358</c:v>
                </c:pt>
                <c:pt idx="52">
                  <c:v>43327</c:v>
                </c:pt>
                <c:pt idx="53">
                  <c:v>43296</c:v>
                </c:pt>
                <c:pt idx="54">
                  <c:v>43266</c:v>
                </c:pt>
                <c:pt idx="55">
                  <c:v>43235</c:v>
                </c:pt>
                <c:pt idx="56">
                  <c:v>43205</c:v>
                </c:pt>
                <c:pt idx="57">
                  <c:v>43174</c:v>
                </c:pt>
                <c:pt idx="58">
                  <c:v>43146</c:v>
                </c:pt>
                <c:pt idx="59">
                  <c:v>43115</c:v>
                </c:pt>
                <c:pt idx="60">
                  <c:v>43084</c:v>
                </c:pt>
                <c:pt idx="61">
                  <c:v>43054</c:v>
                </c:pt>
                <c:pt idx="62">
                  <c:v>43023</c:v>
                </c:pt>
                <c:pt idx="63">
                  <c:v>42993</c:v>
                </c:pt>
                <c:pt idx="64">
                  <c:v>42962</c:v>
                </c:pt>
                <c:pt idx="65">
                  <c:v>42931</c:v>
                </c:pt>
                <c:pt idx="66">
                  <c:v>42901</c:v>
                </c:pt>
                <c:pt idx="67">
                  <c:v>42870</c:v>
                </c:pt>
                <c:pt idx="68">
                  <c:v>42840</c:v>
                </c:pt>
                <c:pt idx="69">
                  <c:v>42809</c:v>
                </c:pt>
                <c:pt idx="70">
                  <c:v>42781</c:v>
                </c:pt>
                <c:pt idx="71">
                  <c:v>42750</c:v>
                </c:pt>
                <c:pt idx="72">
                  <c:v>42719</c:v>
                </c:pt>
                <c:pt idx="73">
                  <c:v>42689</c:v>
                </c:pt>
                <c:pt idx="74">
                  <c:v>42658</c:v>
                </c:pt>
                <c:pt idx="75">
                  <c:v>42628</c:v>
                </c:pt>
                <c:pt idx="76">
                  <c:v>42597</c:v>
                </c:pt>
                <c:pt idx="77">
                  <c:v>42566</c:v>
                </c:pt>
                <c:pt idx="78">
                  <c:v>42536</c:v>
                </c:pt>
                <c:pt idx="79">
                  <c:v>42505</c:v>
                </c:pt>
                <c:pt idx="80">
                  <c:v>42475</c:v>
                </c:pt>
                <c:pt idx="81">
                  <c:v>42444</c:v>
                </c:pt>
                <c:pt idx="82">
                  <c:v>42415</c:v>
                </c:pt>
                <c:pt idx="83">
                  <c:v>42384</c:v>
                </c:pt>
                <c:pt idx="84">
                  <c:v>42353</c:v>
                </c:pt>
                <c:pt idx="85">
                  <c:v>42323</c:v>
                </c:pt>
                <c:pt idx="86">
                  <c:v>42292</c:v>
                </c:pt>
                <c:pt idx="87">
                  <c:v>42262</c:v>
                </c:pt>
                <c:pt idx="88">
                  <c:v>42231</c:v>
                </c:pt>
                <c:pt idx="89">
                  <c:v>42200</c:v>
                </c:pt>
                <c:pt idx="90">
                  <c:v>42170</c:v>
                </c:pt>
                <c:pt idx="91">
                  <c:v>42139</c:v>
                </c:pt>
                <c:pt idx="92">
                  <c:v>42109</c:v>
                </c:pt>
                <c:pt idx="93">
                  <c:v>42078</c:v>
                </c:pt>
                <c:pt idx="94">
                  <c:v>42050</c:v>
                </c:pt>
                <c:pt idx="95">
                  <c:v>42019</c:v>
                </c:pt>
                <c:pt idx="96">
                  <c:v>41988</c:v>
                </c:pt>
                <c:pt idx="97">
                  <c:v>41958</c:v>
                </c:pt>
                <c:pt idx="98">
                  <c:v>41927</c:v>
                </c:pt>
                <c:pt idx="99">
                  <c:v>41897</c:v>
                </c:pt>
                <c:pt idx="100">
                  <c:v>41866</c:v>
                </c:pt>
                <c:pt idx="101">
                  <c:v>41835</c:v>
                </c:pt>
              </c:numCache>
            </c:numRef>
          </c:cat>
          <c:val>
            <c:numRef>
              <c:f>AT_manu!$G$13:$G$114</c:f>
              <c:numCache>
                <c:formatCode>0.0</c:formatCode>
                <c:ptCount val="102"/>
                <c:pt idx="0">
                  <c:v>38.35</c:v>
                </c:pt>
                <c:pt idx="1">
                  <c:v>36.93</c:v>
                </c:pt>
                <c:pt idx="2">
                  <c:v>32.9</c:v>
                </c:pt>
                <c:pt idx="3">
                  <c:v>38.590000000000003</c:v>
                </c:pt>
                <c:pt idx="4">
                  <c:v>39.75</c:v>
                </c:pt>
                <c:pt idx="5">
                  <c:v>43.58</c:v>
                </c:pt>
                <c:pt idx="6">
                  <c:v>41.23</c:v>
                </c:pt>
                <c:pt idx="7">
                  <c:v>48.08</c:v>
                </c:pt>
                <c:pt idx="8">
                  <c:v>52.97</c:v>
                </c:pt>
                <c:pt idx="9">
                  <c:v>53.16</c:v>
                </c:pt>
                <c:pt idx="10">
                  <c:v>54.22</c:v>
                </c:pt>
                <c:pt idx="11">
                  <c:v>58.72</c:v>
                </c:pt>
                <c:pt idx="12">
                  <c:v>53.12</c:v>
                </c:pt>
                <c:pt idx="13">
                  <c:v>50.28</c:v>
                </c:pt>
                <c:pt idx="14">
                  <c:v>54.19</c:v>
                </c:pt>
                <c:pt idx="15">
                  <c:v>58.45</c:v>
                </c:pt>
                <c:pt idx="16">
                  <c:v>59.72</c:v>
                </c:pt>
                <c:pt idx="17">
                  <c:v>61.1</c:v>
                </c:pt>
                <c:pt idx="18">
                  <c:v>68.09</c:v>
                </c:pt>
                <c:pt idx="19">
                  <c:v>65.92</c:v>
                </c:pt>
                <c:pt idx="20">
                  <c:v>64.760000000000005</c:v>
                </c:pt>
                <c:pt idx="21">
                  <c:v>63.27</c:v>
                </c:pt>
                <c:pt idx="22">
                  <c:v>55.11</c:v>
                </c:pt>
                <c:pt idx="23">
                  <c:v>53.54</c:v>
                </c:pt>
                <c:pt idx="24">
                  <c:v>53.69</c:v>
                </c:pt>
                <c:pt idx="25">
                  <c:v>52.19</c:v>
                </c:pt>
                <c:pt idx="26">
                  <c:v>58.09</c:v>
                </c:pt>
                <c:pt idx="27">
                  <c:v>53.26</c:v>
                </c:pt>
                <c:pt idx="28">
                  <c:v>52.23</c:v>
                </c:pt>
                <c:pt idx="29">
                  <c:v>55.03</c:v>
                </c:pt>
                <c:pt idx="30">
                  <c:v>43.16</c:v>
                </c:pt>
                <c:pt idx="31">
                  <c:v>31.89</c:v>
                </c:pt>
                <c:pt idx="32">
                  <c:v>15.83</c:v>
                </c:pt>
                <c:pt idx="33">
                  <c:v>37.82</c:v>
                </c:pt>
                <c:pt idx="34">
                  <c:v>48.17</c:v>
                </c:pt>
                <c:pt idx="35">
                  <c:v>49.8</c:v>
                </c:pt>
                <c:pt idx="36">
                  <c:v>46.46</c:v>
                </c:pt>
                <c:pt idx="37">
                  <c:v>44.81</c:v>
                </c:pt>
                <c:pt idx="38">
                  <c:v>45.27</c:v>
                </c:pt>
                <c:pt idx="39">
                  <c:v>44.34</c:v>
                </c:pt>
                <c:pt idx="40">
                  <c:v>48.13</c:v>
                </c:pt>
                <c:pt idx="41">
                  <c:v>46.26</c:v>
                </c:pt>
                <c:pt idx="42">
                  <c:v>45.86</c:v>
                </c:pt>
                <c:pt idx="43">
                  <c:v>46.39</c:v>
                </c:pt>
                <c:pt idx="44">
                  <c:v>45.9</c:v>
                </c:pt>
                <c:pt idx="45">
                  <c:v>46.1</c:v>
                </c:pt>
                <c:pt idx="46">
                  <c:v>48.99</c:v>
                </c:pt>
                <c:pt idx="47">
                  <c:v>48.48</c:v>
                </c:pt>
                <c:pt idx="48">
                  <c:v>50.57</c:v>
                </c:pt>
                <c:pt idx="49">
                  <c:v>51.69</c:v>
                </c:pt>
                <c:pt idx="50">
                  <c:v>51.45</c:v>
                </c:pt>
                <c:pt idx="51">
                  <c:v>51.59</c:v>
                </c:pt>
                <c:pt idx="52">
                  <c:v>54.31</c:v>
                </c:pt>
                <c:pt idx="53">
                  <c:v>52.11</c:v>
                </c:pt>
                <c:pt idx="54">
                  <c:v>52.79</c:v>
                </c:pt>
                <c:pt idx="55">
                  <c:v>52.84</c:v>
                </c:pt>
                <c:pt idx="56">
                  <c:v>53.13</c:v>
                </c:pt>
                <c:pt idx="57">
                  <c:v>54.45</c:v>
                </c:pt>
                <c:pt idx="58">
                  <c:v>57.86</c:v>
                </c:pt>
                <c:pt idx="59">
                  <c:v>60.71</c:v>
                </c:pt>
                <c:pt idx="60">
                  <c:v>64.489999999999995</c:v>
                </c:pt>
                <c:pt idx="61">
                  <c:v>62.03</c:v>
                </c:pt>
                <c:pt idx="62">
                  <c:v>58.18</c:v>
                </c:pt>
                <c:pt idx="63">
                  <c:v>59.42</c:v>
                </c:pt>
                <c:pt idx="64">
                  <c:v>59.85</c:v>
                </c:pt>
                <c:pt idx="65">
                  <c:v>60.41</c:v>
                </c:pt>
                <c:pt idx="66">
                  <c:v>62.14</c:v>
                </c:pt>
                <c:pt idx="67">
                  <c:v>58.41</c:v>
                </c:pt>
                <c:pt idx="68">
                  <c:v>58.6</c:v>
                </c:pt>
                <c:pt idx="69">
                  <c:v>56</c:v>
                </c:pt>
                <c:pt idx="70">
                  <c:v>58.18</c:v>
                </c:pt>
                <c:pt idx="71">
                  <c:v>60.15</c:v>
                </c:pt>
                <c:pt idx="72">
                  <c:v>59.78</c:v>
                </c:pt>
                <c:pt idx="73">
                  <c:v>56.9</c:v>
                </c:pt>
                <c:pt idx="74">
                  <c:v>54.19</c:v>
                </c:pt>
                <c:pt idx="75">
                  <c:v>52.81</c:v>
                </c:pt>
                <c:pt idx="76">
                  <c:v>51.23</c:v>
                </c:pt>
                <c:pt idx="77">
                  <c:v>53.48</c:v>
                </c:pt>
                <c:pt idx="78">
                  <c:v>54.67</c:v>
                </c:pt>
                <c:pt idx="79">
                  <c:v>51.16</c:v>
                </c:pt>
                <c:pt idx="80">
                  <c:v>52.43</c:v>
                </c:pt>
                <c:pt idx="81">
                  <c:v>54.69</c:v>
                </c:pt>
                <c:pt idx="82">
                  <c:v>52.67</c:v>
                </c:pt>
                <c:pt idx="83">
                  <c:v>50.31</c:v>
                </c:pt>
                <c:pt idx="84">
                  <c:v>49.35</c:v>
                </c:pt>
                <c:pt idx="85">
                  <c:v>52.88</c:v>
                </c:pt>
                <c:pt idx="86">
                  <c:v>54.6</c:v>
                </c:pt>
                <c:pt idx="87">
                  <c:v>52.92</c:v>
                </c:pt>
                <c:pt idx="88">
                  <c:v>50.27</c:v>
                </c:pt>
                <c:pt idx="89">
                  <c:v>52.53</c:v>
                </c:pt>
                <c:pt idx="90">
                  <c:v>52.25</c:v>
                </c:pt>
                <c:pt idx="91">
                  <c:v>49.82</c:v>
                </c:pt>
                <c:pt idx="92">
                  <c:v>50.56</c:v>
                </c:pt>
                <c:pt idx="93">
                  <c:v>46.58</c:v>
                </c:pt>
                <c:pt idx="94">
                  <c:v>46.72</c:v>
                </c:pt>
                <c:pt idx="95">
                  <c:v>46.55</c:v>
                </c:pt>
                <c:pt idx="96">
                  <c:v>48.79</c:v>
                </c:pt>
                <c:pt idx="97">
                  <c:v>45.85</c:v>
                </c:pt>
                <c:pt idx="98">
                  <c:v>45.25</c:v>
                </c:pt>
                <c:pt idx="99">
                  <c:v>45.68</c:v>
                </c:pt>
                <c:pt idx="100">
                  <c:v>48.55</c:v>
                </c:pt>
                <c:pt idx="101">
                  <c:v>49.71</c:v>
                </c:pt>
              </c:numCache>
            </c:numRef>
          </c:val>
          <c:smooth val="0"/>
          <c:extLst>
            <c:ext xmlns:c16="http://schemas.microsoft.com/office/drawing/2014/chart" uri="{C3380CC4-5D6E-409C-BE32-E72D297353CC}">
              <c16:uniqueId val="{00000004-67CF-4AB1-AAC2-7239C912F0DD}"/>
            </c:ext>
          </c:extLst>
        </c:ser>
        <c:dLbls>
          <c:showLegendKey val="0"/>
          <c:showVal val="0"/>
          <c:showCatName val="0"/>
          <c:showSerName val="0"/>
          <c:showPercent val="0"/>
          <c:showBubbleSize val="0"/>
        </c:dLbls>
        <c:smooth val="0"/>
        <c:axId val="610702599"/>
        <c:axId val="610699319"/>
      </c:lineChart>
      <c:dateAx>
        <c:axId val="610702599"/>
        <c:scaling>
          <c:orientation val="minMax"/>
          <c:max val="44896"/>
          <c:min val="43709"/>
        </c:scaling>
        <c:delete val="0"/>
        <c:axPos val="b"/>
        <c:numFmt formatCode="mmm/\ 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610699319"/>
        <c:crosses val="autoZero"/>
        <c:auto val="1"/>
        <c:lblOffset val="100"/>
        <c:baseTimeUnit val="months"/>
        <c:majorUnit val="5"/>
        <c:majorTimeUnit val="months"/>
      </c:dateAx>
      <c:valAx>
        <c:axId val="610699319"/>
        <c:scaling>
          <c:orientation val="minMax"/>
          <c:max val="70"/>
          <c:min val="3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610702599"/>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de-AT" b="0">
                <a:solidFill>
                  <a:schemeClr val="tx1">
                    <a:lumMod val="65000"/>
                    <a:lumOff val="35000"/>
                  </a:schemeClr>
                </a:solidFill>
              </a:rPr>
              <a:t>BIP real (% </a:t>
            </a:r>
            <a:r>
              <a:rPr lang="de-AT" b="0" err="1">
                <a:solidFill>
                  <a:schemeClr val="tx1">
                    <a:lumMod val="65000"/>
                    <a:lumOff val="35000"/>
                  </a:schemeClr>
                </a:solidFill>
              </a:rPr>
              <a:t>p.q</a:t>
            </a:r>
            <a:r>
              <a:rPr lang="de-AT" b="0">
                <a:solidFill>
                  <a:schemeClr val="tx1">
                    <a:lumMod val="65000"/>
                    <a:lumOff val="35000"/>
                  </a:schemeClr>
                </a:solidFill>
              </a:rPr>
              <a:t>., % p.a.</a:t>
            </a:r>
            <a:r>
              <a:rPr lang="de-AT" b="0" baseline="0">
                <a:solidFill>
                  <a:schemeClr val="tx1">
                    <a:lumMod val="65000"/>
                    <a:lumOff val="35000"/>
                  </a:schemeClr>
                </a:solidFill>
              </a:rPr>
              <a:t> in Tabelle)</a:t>
            </a:r>
            <a:endParaRPr lang="de-AT" b="0">
              <a:solidFill>
                <a:schemeClr val="tx1">
                  <a:lumMod val="65000"/>
                  <a:lumOff val="35000"/>
                </a:schemeClr>
              </a:solidFill>
            </a:endParaRP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manualLayout>
          <c:layoutTarget val="inner"/>
          <c:xMode val="edge"/>
          <c:yMode val="edge"/>
          <c:x val="0.11356984132851938"/>
          <c:y val="0.10031380332309672"/>
          <c:w val="0.88643015867148067"/>
          <c:h val="0.81037792418527044"/>
        </c:manualLayout>
      </c:layout>
      <c:barChart>
        <c:barDir val="col"/>
        <c:grouping val="clustered"/>
        <c:varyColors val="0"/>
        <c:ser>
          <c:idx val="0"/>
          <c:order val="0"/>
          <c:tx>
            <c:v>Eurozone</c:v>
          </c:tx>
          <c:spPr>
            <a:solidFill>
              <a:schemeClr val="accent1"/>
            </a:solidFill>
            <a:ln>
              <a:noFill/>
            </a:ln>
            <a:effectLst/>
          </c:spPr>
          <c:invertIfNegative val="0"/>
          <c:cat>
            <c:strRef>
              <c:f>AT_sa!$R$119:$R$127</c:f>
              <c:strCache>
                <c:ptCount val="9"/>
                <c:pt idx="0">
                  <c:v>Q4 21</c:v>
                </c:pt>
                <c:pt idx="1">
                  <c:v>Q1 22</c:v>
                </c:pt>
                <c:pt idx="2">
                  <c:v>Q2 22</c:v>
                </c:pt>
                <c:pt idx="3">
                  <c:v>Q3 22</c:v>
                </c:pt>
                <c:pt idx="4">
                  <c:v>Q4 22</c:v>
                </c:pt>
                <c:pt idx="5">
                  <c:v>Q1 23</c:v>
                </c:pt>
                <c:pt idx="6">
                  <c:v>Q2 23</c:v>
                </c:pt>
                <c:pt idx="7">
                  <c:v>Q3 23</c:v>
                </c:pt>
                <c:pt idx="8">
                  <c:v>Q4 23</c:v>
                </c:pt>
              </c:strCache>
            </c:strRef>
          </c:cat>
          <c:val>
            <c:numRef>
              <c:f>AT_sa!$Q$119:$Q$127</c:f>
              <c:numCache>
                <c:formatCode>_ * #\ ##0.0_____ ;_ * \-#\ ##0.0_____ ;_ * "-"_____ ;_ @_____ </c:formatCode>
                <c:ptCount val="9"/>
                <c:pt idx="0">
                  <c:v>0.53520597499578937</c:v>
                </c:pt>
                <c:pt idx="1">
                  <c:v>0.61132648093438213</c:v>
                </c:pt>
                <c:pt idx="2">
                  <c:v>0.79510961702871086</c:v>
                </c:pt>
                <c:pt idx="3">
                  <c:v>0.31841430344887733</c:v>
                </c:pt>
                <c:pt idx="4">
                  <c:v>-0.3</c:v>
                </c:pt>
                <c:pt idx="5" formatCode="0.0">
                  <c:v>-0.2</c:v>
                </c:pt>
                <c:pt idx="6">
                  <c:v>0.1</c:v>
                </c:pt>
                <c:pt idx="7">
                  <c:v>0.3</c:v>
                </c:pt>
                <c:pt idx="8">
                  <c:v>0.5</c:v>
                </c:pt>
              </c:numCache>
            </c:numRef>
          </c:val>
          <c:extLst>
            <c:ext xmlns:c16="http://schemas.microsoft.com/office/drawing/2014/chart" uri="{C3380CC4-5D6E-409C-BE32-E72D297353CC}">
              <c16:uniqueId val="{00000000-FD24-44CE-BCA0-7B19CC9E9C3C}"/>
            </c:ext>
          </c:extLst>
        </c:ser>
        <c:ser>
          <c:idx val="1"/>
          <c:order val="1"/>
          <c:tx>
            <c:v>Österreich</c:v>
          </c:tx>
          <c:spPr>
            <a:solidFill>
              <a:schemeClr val="accent2"/>
            </a:solidFill>
            <a:ln>
              <a:noFill/>
            </a:ln>
            <a:effectLst/>
          </c:spPr>
          <c:invertIfNegative val="0"/>
          <c:cat>
            <c:strRef>
              <c:f>AT_sa!$R$119:$R$127</c:f>
              <c:strCache>
                <c:ptCount val="9"/>
                <c:pt idx="0">
                  <c:v>Q4 21</c:v>
                </c:pt>
                <c:pt idx="1">
                  <c:v>Q1 22</c:v>
                </c:pt>
                <c:pt idx="2">
                  <c:v>Q2 22</c:v>
                </c:pt>
                <c:pt idx="3">
                  <c:v>Q3 22</c:v>
                </c:pt>
                <c:pt idx="4">
                  <c:v>Q4 22</c:v>
                </c:pt>
                <c:pt idx="5">
                  <c:v>Q1 23</c:v>
                </c:pt>
                <c:pt idx="6">
                  <c:v>Q2 23</c:v>
                </c:pt>
                <c:pt idx="7">
                  <c:v>Q3 23</c:v>
                </c:pt>
                <c:pt idx="8">
                  <c:v>Q4 23</c:v>
                </c:pt>
              </c:strCache>
            </c:strRef>
          </c:cat>
          <c:val>
            <c:numRef>
              <c:f>AT_sa!$T$119:$T$127</c:f>
              <c:numCache>
                <c:formatCode>0.0</c:formatCode>
                <c:ptCount val="9"/>
                <c:pt idx="0">
                  <c:v>-1.3545930153870511</c:v>
                </c:pt>
                <c:pt idx="1">
                  <c:v>1.2306706060742245</c:v>
                </c:pt>
                <c:pt idx="2">
                  <c:v>1.9367223637920761</c:v>
                </c:pt>
                <c:pt idx="3">
                  <c:v>0.21433770223107107</c:v>
                </c:pt>
                <c:pt idx="4" formatCode="0.00">
                  <c:v>-0.25</c:v>
                </c:pt>
                <c:pt idx="5" formatCode="0.00">
                  <c:v>-0.3</c:v>
                </c:pt>
                <c:pt idx="6" formatCode="0.00">
                  <c:v>0.2</c:v>
                </c:pt>
                <c:pt idx="7" formatCode="0.00">
                  <c:v>0.3</c:v>
                </c:pt>
                <c:pt idx="8" formatCode="0.00">
                  <c:v>0.45</c:v>
                </c:pt>
              </c:numCache>
            </c:numRef>
          </c:val>
          <c:extLst>
            <c:ext xmlns:c16="http://schemas.microsoft.com/office/drawing/2014/chart" uri="{C3380CC4-5D6E-409C-BE32-E72D297353CC}">
              <c16:uniqueId val="{00000001-FD24-44CE-BCA0-7B19CC9E9C3C}"/>
            </c:ext>
          </c:extLst>
        </c:ser>
        <c:dLbls>
          <c:showLegendKey val="0"/>
          <c:showVal val="0"/>
          <c:showCatName val="0"/>
          <c:showSerName val="0"/>
          <c:showPercent val="0"/>
          <c:showBubbleSize val="0"/>
        </c:dLbls>
        <c:gapWidth val="219"/>
        <c:overlap val="-27"/>
        <c:axId val="225747639"/>
        <c:axId val="225750263"/>
      </c:barChart>
      <c:catAx>
        <c:axId val="22574763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225750263"/>
        <c:crosses val="autoZero"/>
        <c:auto val="1"/>
        <c:lblAlgn val="ctr"/>
        <c:lblOffset val="100"/>
        <c:noMultiLvlLbl val="0"/>
      </c:catAx>
      <c:valAx>
        <c:axId val="225750263"/>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2257476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949522636453084E-2"/>
          <c:y val="6.5864889047959924E-2"/>
          <c:w val="0.92781129480328017"/>
          <c:h val="0.76214871152469577"/>
        </c:manualLayout>
      </c:layout>
      <c:lineChart>
        <c:grouping val="standard"/>
        <c:varyColors val="0"/>
        <c:ser>
          <c:idx val="0"/>
          <c:order val="0"/>
          <c:tx>
            <c:strRef>
              <c:f>Data!$F$6</c:f>
              <c:strCache>
                <c:ptCount val="1"/>
                <c:pt idx="0">
                  <c:v>DE/EUR-Leitzins</c:v>
                </c:pt>
              </c:strCache>
            </c:strRef>
          </c:tx>
          <c:spPr>
            <a:ln w="28575" cap="rnd">
              <a:solidFill>
                <a:schemeClr val="accent1"/>
              </a:solidFill>
              <a:round/>
            </a:ln>
            <a:effectLst/>
          </c:spPr>
          <c:marker>
            <c:symbol val="none"/>
          </c:marker>
          <c:cat>
            <c:numRef>
              <c:f>Data!$A$7:$A$1000</c:f>
              <c:numCache>
                <c:formatCode>m/d/yyyy</c:formatCode>
                <c:ptCount val="994"/>
                <c:pt idx="0">
                  <c:v>25594</c:v>
                </c:pt>
                <c:pt idx="1">
                  <c:v>25625</c:v>
                </c:pt>
                <c:pt idx="2">
                  <c:v>25653</c:v>
                </c:pt>
                <c:pt idx="3">
                  <c:v>25684</c:v>
                </c:pt>
                <c:pt idx="4">
                  <c:v>25714</c:v>
                </c:pt>
                <c:pt idx="5">
                  <c:v>25745</c:v>
                </c:pt>
                <c:pt idx="6">
                  <c:v>25775</c:v>
                </c:pt>
                <c:pt idx="7">
                  <c:v>25806</c:v>
                </c:pt>
                <c:pt idx="8">
                  <c:v>25837</c:v>
                </c:pt>
                <c:pt idx="9">
                  <c:v>25867</c:v>
                </c:pt>
                <c:pt idx="10">
                  <c:v>25898</c:v>
                </c:pt>
                <c:pt idx="11">
                  <c:v>25928</c:v>
                </c:pt>
                <c:pt idx="12">
                  <c:v>25959</c:v>
                </c:pt>
                <c:pt idx="13">
                  <c:v>25990</c:v>
                </c:pt>
                <c:pt idx="14">
                  <c:v>26018</c:v>
                </c:pt>
                <c:pt idx="15">
                  <c:v>26049</c:v>
                </c:pt>
                <c:pt idx="16">
                  <c:v>26079</c:v>
                </c:pt>
                <c:pt idx="17">
                  <c:v>26110</c:v>
                </c:pt>
                <c:pt idx="18">
                  <c:v>26140</c:v>
                </c:pt>
                <c:pt idx="19">
                  <c:v>26171</c:v>
                </c:pt>
                <c:pt idx="20">
                  <c:v>26202</c:v>
                </c:pt>
                <c:pt idx="21">
                  <c:v>26232</c:v>
                </c:pt>
                <c:pt idx="22">
                  <c:v>26263</c:v>
                </c:pt>
                <c:pt idx="23">
                  <c:v>26293</c:v>
                </c:pt>
                <c:pt idx="24">
                  <c:v>26324</c:v>
                </c:pt>
                <c:pt idx="25">
                  <c:v>26355</c:v>
                </c:pt>
                <c:pt idx="26">
                  <c:v>26384</c:v>
                </c:pt>
                <c:pt idx="27">
                  <c:v>26415</c:v>
                </c:pt>
                <c:pt idx="28">
                  <c:v>26445</c:v>
                </c:pt>
                <c:pt idx="29">
                  <c:v>26476</c:v>
                </c:pt>
                <c:pt idx="30">
                  <c:v>26506</c:v>
                </c:pt>
                <c:pt idx="31">
                  <c:v>26537</c:v>
                </c:pt>
                <c:pt idx="32">
                  <c:v>26568</c:v>
                </c:pt>
                <c:pt idx="33">
                  <c:v>26598</c:v>
                </c:pt>
                <c:pt idx="34">
                  <c:v>26629</c:v>
                </c:pt>
                <c:pt idx="35">
                  <c:v>26659</c:v>
                </c:pt>
                <c:pt idx="36">
                  <c:v>26690</c:v>
                </c:pt>
                <c:pt idx="37">
                  <c:v>26721</c:v>
                </c:pt>
                <c:pt idx="38">
                  <c:v>26749</c:v>
                </c:pt>
                <c:pt idx="39">
                  <c:v>26780</c:v>
                </c:pt>
                <c:pt idx="40">
                  <c:v>26810</c:v>
                </c:pt>
                <c:pt idx="41">
                  <c:v>26841</c:v>
                </c:pt>
                <c:pt idx="42">
                  <c:v>26871</c:v>
                </c:pt>
                <c:pt idx="43">
                  <c:v>26902</c:v>
                </c:pt>
                <c:pt idx="44">
                  <c:v>26933</c:v>
                </c:pt>
                <c:pt idx="45">
                  <c:v>26963</c:v>
                </c:pt>
                <c:pt idx="46">
                  <c:v>26994</c:v>
                </c:pt>
                <c:pt idx="47">
                  <c:v>27024</c:v>
                </c:pt>
                <c:pt idx="48">
                  <c:v>27055</c:v>
                </c:pt>
                <c:pt idx="49">
                  <c:v>27086</c:v>
                </c:pt>
                <c:pt idx="50">
                  <c:v>27114</c:v>
                </c:pt>
                <c:pt idx="51">
                  <c:v>27145</c:v>
                </c:pt>
                <c:pt idx="52">
                  <c:v>27175</c:v>
                </c:pt>
                <c:pt idx="53">
                  <c:v>27206</c:v>
                </c:pt>
                <c:pt idx="54">
                  <c:v>27236</c:v>
                </c:pt>
                <c:pt idx="55">
                  <c:v>27267</c:v>
                </c:pt>
                <c:pt idx="56">
                  <c:v>27298</c:v>
                </c:pt>
                <c:pt idx="57">
                  <c:v>27328</c:v>
                </c:pt>
                <c:pt idx="58">
                  <c:v>27359</c:v>
                </c:pt>
                <c:pt idx="59">
                  <c:v>27389</c:v>
                </c:pt>
                <c:pt idx="60">
                  <c:v>27420</c:v>
                </c:pt>
                <c:pt idx="61">
                  <c:v>27451</c:v>
                </c:pt>
                <c:pt idx="62">
                  <c:v>27479</c:v>
                </c:pt>
                <c:pt idx="63">
                  <c:v>27510</c:v>
                </c:pt>
                <c:pt idx="64">
                  <c:v>27540</c:v>
                </c:pt>
                <c:pt idx="65">
                  <c:v>27571</c:v>
                </c:pt>
                <c:pt idx="66">
                  <c:v>27601</c:v>
                </c:pt>
                <c:pt idx="67">
                  <c:v>27632</c:v>
                </c:pt>
                <c:pt idx="68">
                  <c:v>27663</c:v>
                </c:pt>
                <c:pt idx="69">
                  <c:v>27693</c:v>
                </c:pt>
                <c:pt idx="70">
                  <c:v>27724</c:v>
                </c:pt>
                <c:pt idx="71">
                  <c:v>27754</c:v>
                </c:pt>
                <c:pt idx="72">
                  <c:v>27785</c:v>
                </c:pt>
                <c:pt idx="73">
                  <c:v>27816</c:v>
                </c:pt>
                <c:pt idx="74">
                  <c:v>27845</c:v>
                </c:pt>
                <c:pt idx="75">
                  <c:v>27876</c:v>
                </c:pt>
                <c:pt idx="76">
                  <c:v>27906</c:v>
                </c:pt>
                <c:pt idx="77">
                  <c:v>27937</c:v>
                </c:pt>
                <c:pt idx="78">
                  <c:v>27967</c:v>
                </c:pt>
                <c:pt idx="79">
                  <c:v>27998</c:v>
                </c:pt>
                <c:pt idx="80">
                  <c:v>28029</c:v>
                </c:pt>
                <c:pt idx="81">
                  <c:v>28059</c:v>
                </c:pt>
                <c:pt idx="82">
                  <c:v>28090</c:v>
                </c:pt>
                <c:pt idx="83">
                  <c:v>28120</c:v>
                </c:pt>
                <c:pt idx="84">
                  <c:v>28151</c:v>
                </c:pt>
                <c:pt idx="85">
                  <c:v>28182</c:v>
                </c:pt>
                <c:pt idx="86">
                  <c:v>28210</c:v>
                </c:pt>
                <c:pt idx="87">
                  <c:v>28241</c:v>
                </c:pt>
                <c:pt idx="88">
                  <c:v>28271</c:v>
                </c:pt>
                <c:pt idx="89">
                  <c:v>28302</c:v>
                </c:pt>
                <c:pt idx="90">
                  <c:v>28332</c:v>
                </c:pt>
                <c:pt idx="91">
                  <c:v>28363</c:v>
                </c:pt>
                <c:pt idx="92">
                  <c:v>28394</c:v>
                </c:pt>
                <c:pt idx="93">
                  <c:v>28424</c:v>
                </c:pt>
                <c:pt idx="94">
                  <c:v>28455</c:v>
                </c:pt>
                <c:pt idx="95">
                  <c:v>28485</c:v>
                </c:pt>
                <c:pt idx="96">
                  <c:v>28516</c:v>
                </c:pt>
                <c:pt idx="97">
                  <c:v>28547</c:v>
                </c:pt>
                <c:pt idx="98">
                  <c:v>28575</c:v>
                </c:pt>
                <c:pt idx="99">
                  <c:v>28606</c:v>
                </c:pt>
                <c:pt idx="100">
                  <c:v>28636</c:v>
                </c:pt>
                <c:pt idx="101">
                  <c:v>28667</c:v>
                </c:pt>
                <c:pt idx="102">
                  <c:v>28697</c:v>
                </c:pt>
                <c:pt idx="103">
                  <c:v>28728</c:v>
                </c:pt>
                <c:pt idx="104">
                  <c:v>28759</c:v>
                </c:pt>
                <c:pt idx="105">
                  <c:v>28789</c:v>
                </c:pt>
                <c:pt idx="106">
                  <c:v>28820</c:v>
                </c:pt>
                <c:pt idx="107">
                  <c:v>28850</c:v>
                </c:pt>
                <c:pt idx="108">
                  <c:v>28881</c:v>
                </c:pt>
                <c:pt idx="109">
                  <c:v>28912</c:v>
                </c:pt>
                <c:pt idx="110">
                  <c:v>28940</c:v>
                </c:pt>
                <c:pt idx="111">
                  <c:v>28971</c:v>
                </c:pt>
                <c:pt idx="112">
                  <c:v>29001</c:v>
                </c:pt>
                <c:pt idx="113">
                  <c:v>29032</c:v>
                </c:pt>
                <c:pt idx="114">
                  <c:v>29062</c:v>
                </c:pt>
                <c:pt idx="115">
                  <c:v>29093</c:v>
                </c:pt>
                <c:pt idx="116">
                  <c:v>29124</c:v>
                </c:pt>
                <c:pt idx="117">
                  <c:v>29154</c:v>
                </c:pt>
                <c:pt idx="118">
                  <c:v>29185</c:v>
                </c:pt>
                <c:pt idx="119">
                  <c:v>29215</c:v>
                </c:pt>
                <c:pt idx="120">
                  <c:v>29246</c:v>
                </c:pt>
                <c:pt idx="121">
                  <c:v>29277</c:v>
                </c:pt>
                <c:pt idx="122">
                  <c:v>29306</c:v>
                </c:pt>
                <c:pt idx="123">
                  <c:v>29337</c:v>
                </c:pt>
                <c:pt idx="124">
                  <c:v>29367</c:v>
                </c:pt>
                <c:pt idx="125">
                  <c:v>29398</c:v>
                </c:pt>
                <c:pt idx="126">
                  <c:v>29428</c:v>
                </c:pt>
                <c:pt idx="127">
                  <c:v>29459</c:v>
                </c:pt>
                <c:pt idx="128">
                  <c:v>29490</c:v>
                </c:pt>
                <c:pt idx="129">
                  <c:v>29520</c:v>
                </c:pt>
                <c:pt idx="130">
                  <c:v>29551</c:v>
                </c:pt>
                <c:pt idx="131">
                  <c:v>29581</c:v>
                </c:pt>
                <c:pt idx="132">
                  <c:v>29612</c:v>
                </c:pt>
                <c:pt idx="133">
                  <c:v>29643</c:v>
                </c:pt>
                <c:pt idx="134">
                  <c:v>29671</c:v>
                </c:pt>
                <c:pt idx="135">
                  <c:v>29702</c:v>
                </c:pt>
                <c:pt idx="136">
                  <c:v>29732</c:v>
                </c:pt>
                <c:pt idx="137">
                  <c:v>29763</c:v>
                </c:pt>
                <c:pt idx="138">
                  <c:v>29793</c:v>
                </c:pt>
                <c:pt idx="139">
                  <c:v>29824</c:v>
                </c:pt>
                <c:pt idx="140">
                  <c:v>29855</c:v>
                </c:pt>
                <c:pt idx="141">
                  <c:v>29885</c:v>
                </c:pt>
                <c:pt idx="142">
                  <c:v>29916</c:v>
                </c:pt>
                <c:pt idx="143">
                  <c:v>29946</c:v>
                </c:pt>
                <c:pt idx="144">
                  <c:v>29977</c:v>
                </c:pt>
                <c:pt idx="145">
                  <c:v>30008</c:v>
                </c:pt>
                <c:pt idx="146">
                  <c:v>30036</c:v>
                </c:pt>
                <c:pt idx="147">
                  <c:v>30067</c:v>
                </c:pt>
                <c:pt idx="148">
                  <c:v>30097</c:v>
                </c:pt>
                <c:pt idx="149">
                  <c:v>30128</c:v>
                </c:pt>
                <c:pt idx="150">
                  <c:v>30158</c:v>
                </c:pt>
                <c:pt idx="151">
                  <c:v>30189</c:v>
                </c:pt>
                <c:pt idx="152">
                  <c:v>30220</c:v>
                </c:pt>
                <c:pt idx="153">
                  <c:v>30250</c:v>
                </c:pt>
                <c:pt idx="154">
                  <c:v>30281</c:v>
                </c:pt>
                <c:pt idx="155">
                  <c:v>30311</c:v>
                </c:pt>
                <c:pt idx="156">
                  <c:v>30342</c:v>
                </c:pt>
                <c:pt idx="157">
                  <c:v>30373</c:v>
                </c:pt>
                <c:pt idx="158">
                  <c:v>30401</c:v>
                </c:pt>
                <c:pt idx="159">
                  <c:v>30432</c:v>
                </c:pt>
                <c:pt idx="160">
                  <c:v>30462</c:v>
                </c:pt>
                <c:pt idx="161">
                  <c:v>30493</c:v>
                </c:pt>
                <c:pt idx="162">
                  <c:v>30523</c:v>
                </c:pt>
                <c:pt idx="163">
                  <c:v>30554</c:v>
                </c:pt>
                <c:pt idx="164">
                  <c:v>30585</c:v>
                </c:pt>
                <c:pt idx="165">
                  <c:v>30615</c:v>
                </c:pt>
                <c:pt idx="166">
                  <c:v>30646</c:v>
                </c:pt>
                <c:pt idx="167">
                  <c:v>30676</c:v>
                </c:pt>
                <c:pt idx="168">
                  <c:v>30707</c:v>
                </c:pt>
                <c:pt idx="169">
                  <c:v>30738</c:v>
                </c:pt>
                <c:pt idx="170">
                  <c:v>30767</c:v>
                </c:pt>
                <c:pt idx="171">
                  <c:v>30798</c:v>
                </c:pt>
                <c:pt idx="172">
                  <c:v>30828</c:v>
                </c:pt>
                <c:pt idx="173">
                  <c:v>30859</c:v>
                </c:pt>
                <c:pt idx="174">
                  <c:v>30889</c:v>
                </c:pt>
                <c:pt idx="175">
                  <c:v>30920</c:v>
                </c:pt>
                <c:pt idx="176">
                  <c:v>30951</c:v>
                </c:pt>
                <c:pt idx="177">
                  <c:v>30981</c:v>
                </c:pt>
                <c:pt idx="178">
                  <c:v>31012</c:v>
                </c:pt>
                <c:pt idx="179">
                  <c:v>31042</c:v>
                </c:pt>
                <c:pt idx="180">
                  <c:v>31073</c:v>
                </c:pt>
                <c:pt idx="181">
                  <c:v>31104</c:v>
                </c:pt>
                <c:pt idx="182">
                  <c:v>31132</c:v>
                </c:pt>
                <c:pt idx="183">
                  <c:v>31163</c:v>
                </c:pt>
                <c:pt idx="184">
                  <c:v>31193</c:v>
                </c:pt>
                <c:pt idx="185">
                  <c:v>31224</c:v>
                </c:pt>
                <c:pt idx="186">
                  <c:v>31254</c:v>
                </c:pt>
                <c:pt idx="187">
                  <c:v>31285</c:v>
                </c:pt>
                <c:pt idx="188">
                  <c:v>31316</c:v>
                </c:pt>
                <c:pt idx="189">
                  <c:v>31346</c:v>
                </c:pt>
                <c:pt idx="190">
                  <c:v>31377</c:v>
                </c:pt>
                <c:pt idx="191">
                  <c:v>31407</c:v>
                </c:pt>
                <c:pt idx="192">
                  <c:v>31438</c:v>
                </c:pt>
                <c:pt idx="193">
                  <c:v>31469</c:v>
                </c:pt>
                <c:pt idx="194">
                  <c:v>31497</c:v>
                </c:pt>
                <c:pt idx="195">
                  <c:v>31528</c:v>
                </c:pt>
                <c:pt idx="196">
                  <c:v>31558</c:v>
                </c:pt>
                <c:pt idx="197">
                  <c:v>31589</c:v>
                </c:pt>
                <c:pt idx="198">
                  <c:v>31619</c:v>
                </c:pt>
                <c:pt idx="199">
                  <c:v>31650</c:v>
                </c:pt>
                <c:pt idx="200">
                  <c:v>31681</c:v>
                </c:pt>
                <c:pt idx="201">
                  <c:v>31711</c:v>
                </c:pt>
                <c:pt idx="202">
                  <c:v>31742</c:v>
                </c:pt>
                <c:pt idx="203">
                  <c:v>31772</c:v>
                </c:pt>
                <c:pt idx="204">
                  <c:v>31803</c:v>
                </c:pt>
                <c:pt idx="205">
                  <c:v>31834</c:v>
                </c:pt>
                <c:pt idx="206">
                  <c:v>31862</c:v>
                </c:pt>
                <c:pt idx="207">
                  <c:v>31893</c:v>
                </c:pt>
                <c:pt idx="208">
                  <c:v>31923</c:v>
                </c:pt>
                <c:pt idx="209">
                  <c:v>31954</c:v>
                </c:pt>
                <c:pt idx="210">
                  <c:v>31984</c:v>
                </c:pt>
                <c:pt idx="211">
                  <c:v>32015</c:v>
                </c:pt>
                <c:pt idx="212">
                  <c:v>32046</c:v>
                </c:pt>
                <c:pt idx="213">
                  <c:v>32076</c:v>
                </c:pt>
                <c:pt idx="214">
                  <c:v>32107</c:v>
                </c:pt>
                <c:pt idx="215">
                  <c:v>32137</c:v>
                </c:pt>
                <c:pt idx="216">
                  <c:v>32168</c:v>
                </c:pt>
                <c:pt idx="217">
                  <c:v>32199</c:v>
                </c:pt>
                <c:pt idx="218">
                  <c:v>32228</c:v>
                </c:pt>
                <c:pt idx="219">
                  <c:v>32259</c:v>
                </c:pt>
                <c:pt idx="220">
                  <c:v>32289</c:v>
                </c:pt>
                <c:pt idx="221">
                  <c:v>32320</c:v>
                </c:pt>
                <c:pt idx="222">
                  <c:v>32350</c:v>
                </c:pt>
                <c:pt idx="223">
                  <c:v>32381</c:v>
                </c:pt>
                <c:pt idx="224">
                  <c:v>32412</c:v>
                </c:pt>
                <c:pt idx="225">
                  <c:v>32442</c:v>
                </c:pt>
                <c:pt idx="226">
                  <c:v>32473</c:v>
                </c:pt>
                <c:pt idx="227">
                  <c:v>32503</c:v>
                </c:pt>
                <c:pt idx="228">
                  <c:v>32534</c:v>
                </c:pt>
                <c:pt idx="229">
                  <c:v>32565</c:v>
                </c:pt>
                <c:pt idx="230">
                  <c:v>32593</c:v>
                </c:pt>
                <c:pt idx="231">
                  <c:v>32624</c:v>
                </c:pt>
                <c:pt idx="232">
                  <c:v>32654</c:v>
                </c:pt>
                <c:pt idx="233">
                  <c:v>32685</c:v>
                </c:pt>
                <c:pt idx="234">
                  <c:v>32715</c:v>
                </c:pt>
                <c:pt idx="235">
                  <c:v>32746</c:v>
                </c:pt>
                <c:pt idx="236">
                  <c:v>32777</c:v>
                </c:pt>
                <c:pt idx="237">
                  <c:v>32807</c:v>
                </c:pt>
                <c:pt idx="238">
                  <c:v>32838</c:v>
                </c:pt>
                <c:pt idx="239">
                  <c:v>32868</c:v>
                </c:pt>
                <c:pt idx="240">
                  <c:v>32899</c:v>
                </c:pt>
                <c:pt idx="241">
                  <c:v>32930</c:v>
                </c:pt>
                <c:pt idx="242">
                  <c:v>32958</c:v>
                </c:pt>
                <c:pt idx="243">
                  <c:v>32989</c:v>
                </c:pt>
                <c:pt idx="244">
                  <c:v>33019</c:v>
                </c:pt>
                <c:pt idx="245">
                  <c:v>33050</c:v>
                </c:pt>
                <c:pt idx="246">
                  <c:v>33080</c:v>
                </c:pt>
                <c:pt idx="247">
                  <c:v>33111</c:v>
                </c:pt>
                <c:pt idx="248">
                  <c:v>33142</c:v>
                </c:pt>
                <c:pt idx="249">
                  <c:v>33172</c:v>
                </c:pt>
                <c:pt idx="250">
                  <c:v>33203</c:v>
                </c:pt>
                <c:pt idx="251">
                  <c:v>33233</c:v>
                </c:pt>
                <c:pt idx="252">
                  <c:v>33264</c:v>
                </c:pt>
                <c:pt idx="253">
                  <c:v>33295</c:v>
                </c:pt>
                <c:pt idx="254">
                  <c:v>33323</c:v>
                </c:pt>
                <c:pt idx="255">
                  <c:v>33354</c:v>
                </c:pt>
                <c:pt idx="256">
                  <c:v>33384</c:v>
                </c:pt>
                <c:pt idx="257">
                  <c:v>33415</c:v>
                </c:pt>
                <c:pt idx="258">
                  <c:v>33445</c:v>
                </c:pt>
                <c:pt idx="259">
                  <c:v>33476</c:v>
                </c:pt>
                <c:pt idx="260">
                  <c:v>33507</c:v>
                </c:pt>
                <c:pt idx="261">
                  <c:v>33537</c:v>
                </c:pt>
                <c:pt idx="262">
                  <c:v>33568</c:v>
                </c:pt>
                <c:pt idx="263">
                  <c:v>33598</c:v>
                </c:pt>
                <c:pt idx="264">
                  <c:v>33629</c:v>
                </c:pt>
                <c:pt idx="265">
                  <c:v>33660</c:v>
                </c:pt>
                <c:pt idx="266">
                  <c:v>33689</c:v>
                </c:pt>
                <c:pt idx="267">
                  <c:v>33720</c:v>
                </c:pt>
                <c:pt idx="268">
                  <c:v>33750</c:v>
                </c:pt>
                <c:pt idx="269">
                  <c:v>33781</c:v>
                </c:pt>
                <c:pt idx="270">
                  <c:v>33811</c:v>
                </c:pt>
                <c:pt idx="271">
                  <c:v>33842</c:v>
                </c:pt>
                <c:pt idx="272">
                  <c:v>33873</c:v>
                </c:pt>
                <c:pt idx="273">
                  <c:v>33903</c:v>
                </c:pt>
                <c:pt idx="274">
                  <c:v>33934</c:v>
                </c:pt>
                <c:pt idx="275">
                  <c:v>33964</c:v>
                </c:pt>
                <c:pt idx="276">
                  <c:v>33995</c:v>
                </c:pt>
                <c:pt idx="277">
                  <c:v>34026</c:v>
                </c:pt>
                <c:pt idx="278">
                  <c:v>34054</c:v>
                </c:pt>
                <c:pt idx="279">
                  <c:v>34085</c:v>
                </c:pt>
                <c:pt idx="280">
                  <c:v>34115</c:v>
                </c:pt>
                <c:pt idx="281">
                  <c:v>34146</c:v>
                </c:pt>
                <c:pt idx="282">
                  <c:v>34176</c:v>
                </c:pt>
                <c:pt idx="283">
                  <c:v>34207</c:v>
                </c:pt>
                <c:pt idx="284">
                  <c:v>34238</c:v>
                </c:pt>
                <c:pt idx="285">
                  <c:v>34268</c:v>
                </c:pt>
                <c:pt idx="286">
                  <c:v>34299</c:v>
                </c:pt>
                <c:pt idx="287">
                  <c:v>34329</c:v>
                </c:pt>
                <c:pt idx="288">
                  <c:v>34360</c:v>
                </c:pt>
                <c:pt idx="289">
                  <c:v>34391</c:v>
                </c:pt>
                <c:pt idx="290">
                  <c:v>34419</c:v>
                </c:pt>
                <c:pt idx="291">
                  <c:v>34450</c:v>
                </c:pt>
                <c:pt idx="292">
                  <c:v>34480</c:v>
                </c:pt>
                <c:pt idx="293">
                  <c:v>34511</c:v>
                </c:pt>
                <c:pt idx="294">
                  <c:v>34541</c:v>
                </c:pt>
                <c:pt idx="295">
                  <c:v>34572</c:v>
                </c:pt>
                <c:pt idx="296">
                  <c:v>34603</c:v>
                </c:pt>
                <c:pt idx="297">
                  <c:v>34633</c:v>
                </c:pt>
                <c:pt idx="298">
                  <c:v>34664</c:v>
                </c:pt>
                <c:pt idx="299">
                  <c:v>34694</c:v>
                </c:pt>
                <c:pt idx="300">
                  <c:v>34725</c:v>
                </c:pt>
                <c:pt idx="301">
                  <c:v>34756</c:v>
                </c:pt>
                <c:pt idx="302">
                  <c:v>34784</c:v>
                </c:pt>
                <c:pt idx="303">
                  <c:v>34815</c:v>
                </c:pt>
                <c:pt idx="304">
                  <c:v>34845</c:v>
                </c:pt>
                <c:pt idx="305">
                  <c:v>34876</c:v>
                </c:pt>
                <c:pt idx="306">
                  <c:v>34906</c:v>
                </c:pt>
                <c:pt idx="307">
                  <c:v>34937</c:v>
                </c:pt>
                <c:pt idx="308">
                  <c:v>34968</c:v>
                </c:pt>
                <c:pt idx="309">
                  <c:v>34998</c:v>
                </c:pt>
                <c:pt idx="310">
                  <c:v>35029</c:v>
                </c:pt>
                <c:pt idx="311">
                  <c:v>35059</c:v>
                </c:pt>
                <c:pt idx="312">
                  <c:v>35090</c:v>
                </c:pt>
                <c:pt idx="313">
                  <c:v>35121</c:v>
                </c:pt>
                <c:pt idx="314">
                  <c:v>35150</c:v>
                </c:pt>
                <c:pt idx="315">
                  <c:v>35181</c:v>
                </c:pt>
                <c:pt idx="316">
                  <c:v>35211</c:v>
                </c:pt>
                <c:pt idx="317">
                  <c:v>35242</c:v>
                </c:pt>
                <c:pt idx="318">
                  <c:v>35272</c:v>
                </c:pt>
                <c:pt idx="319">
                  <c:v>35303</c:v>
                </c:pt>
                <c:pt idx="320">
                  <c:v>35334</c:v>
                </c:pt>
                <c:pt idx="321">
                  <c:v>35364</c:v>
                </c:pt>
                <c:pt idx="322">
                  <c:v>35395</c:v>
                </c:pt>
                <c:pt idx="323">
                  <c:v>35425</c:v>
                </c:pt>
                <c:pt idx="324">
                  <c:v>35456</c:v>
                </c:pt>
                <c:pt idx="325">
                  <c:v>35487</c:v>
                </c:pt>
                <c:pt idx="326">
                  <c:v>35515</c:v>
                </c:pt>
                <c:pt idx="327">
                  <c:v>35546</c:v>
                </c:pt>
                <c:pt idx="328">
                  <c:v>35576</c:v>
                </c:pt>
                <c:pt idx="329">
                  <c:v>35607</c:v>
                </c:pt>
                <c:pt idx="330">
                  <c:v>35637</c:v>
                </c:pt>
                <c:pt idx="331">
                  <c:v>35668</c:v>
                </c:pt>
                <c:pt idx="332">
                  <c:v>35699</c:v>
                </c:pt>
                <c:pt idx="333">
                  <c:v>35729</c:v>
                </c:pt>
                <c:pt idx="334">
                  <c:v>35760</c:v>
                </c:pt>
                <c:pt idx="335">
                  <c:v>35790</c:v>
                </c:pt>
                <c:pt idx="336">
                  <c:v>35821</c:v>
                </c:pt>
                <c:pt idx="337">
                  <c:v>35852</c:v>
                </c:pt>
                <c:pt idx="338">
                  <c:v>35880</c:v>
                </c:pt>
                <c:pt idx="339">
                  <c:v>35911</c:v>
                </c:pt>
                <c:pt idx="340">
                  <c:v>35941</c:v>
                </c:pt>
                <c:pt idx="341">
                  <c:v>35972</c:v>
                </c:pt>
                <c:pt idx="342">
                  <c:v>36002</c:v>
                </c:pt>
                <c:pt idx="343">
                  <c:v>36033</c:v>
                </c:pt>
                <c:pt idx="344">
                  <c:v>36064</c:v>
                </c:pt>
                <c:pt idx="345">
                  <c:v>36094</c:v>
                </c:pt>
                <c:pt idx="346">
                  <c:v>36125</c:v>
                </c:pt>
                <c:pt idx="347">
                  <c:v>36155</c:v>
                </c:pt>
                <c:pt idx="348">
                  <c:v>36186</c:v>
                </c:pt>
                <c:pt idx="349">
                  <c:v>36217</c:v>
                </c:pt>
                <c:pt idx="350">
                  <c:v>36245</c:v>
                </c:pt>
                <c:pt idx="351">
                  <c:v>36276</c:v>
                </c:pt>
                <c:pt idx="352">
                  <c:v>36306</c:v>
                </c:pt>
                <c:pt idx="353">
                  <c:v>36337</c:v>
                </c:pt>
                <c:pt idx="354">
                  <c:v>36367</c:v>
                </c:pt>
                <c:pt idx="355">
                  <c:v>36398</c:v>
                </c:pt>
                <c:pt idx="356">
                  <c:v>36429</c:v>
                </c:pt>
                <c:pt idx="357">
                  <c:v>36459</c:v>
                </c:pt>
                <c:pt idx="358">
                  <c:v>36490</c:v>
                </c:pt>
                <c:pt idx="359">
                  <c:v>36520</c:v>
                </c:pt>
                <c:pt idx="360">
                  <c:v>36551</c:v>
                </c:pt>
                <c:pt idx="361">
                  <c:v>36582</c:v>
                </c:pt>
                <c:pt idx="362">
                  <c:v>36611</c:v>
                </c:pt>
                <c:pt idx="363">
                  <c:v>36642</c:v>
                </c:pt>
                <c:pt idx="364">
                  <c:v>36672</c:v>
                </c:pt>
                <c:pt idx="365">
                  <c:v>36703</c:v>
                </c:pt>
                <c:pt idx="366">
                  <c:v>36733</c:v>
                </c:pt>
                <c:pt idx="367">
                  <c:v>36764</c:v>
                </c:pt>
                <c:pt idx="368">
                  <c:v>36795</c:v>
                </c:pt>
                <c:pt idx="369">
                  <c:v>36825</c:v>
                </c:pt>
                <c:pt idx="370">
                  <c:v>36856</c:v>
                </c:pt>
                <c:pt idx="371">
                  <c:v>36886</c:v>
                </c:pt>
                <c:pt idx="372">
                  <c:v>36917</c:v>
                </c:pt>
                <c:pt idx="373">
                  <c:v>36948</c:v>
                </c:pt>
                <c:pt idx="374">
                  <c:v>36976</c:v>
                </c:pt>
                <c:pt idx="375">
                  <c:v>37007</c:v>
                </c:pt>
                <c:pt idx="376">
                  <c:v>37037</c:v>
                </c:pt>
                <c:pt idx="377">
                  <c:v>37068</c:v>
                </c:pt>
                <c:pt idx="378">
                  <c:v>37098</c:v>
                </c:pt>
                <c:pt idx="379">
                  <c:v>37129</c:v>
                </c:pt>
                <c:pt idx="380">
                  <c:v>37160</c:v>
                </c:pt>
                <c:pt idx="381">
                  <c:v>37190</c:v>
                </c:pt>
                <c:pt idx="382">
                  <c:v>37221</c:v>
                </c:pt>
                <c:pt idx="383">
                  <c:v>37251</c:v>
                </c:pt>
                <c:pt idx="384">
                  <c:v>37282</c:v>
                </c:pt>
                <c:pt idx="385">
                  <c:v>37313</c:v>
                </c:pt>
                <c:pt idx="386">
                  <c:v>37341</c:v>
                </c:pt>
                <c:pt idx="387">
                  <c:v>37372</c:v>
                </c:pt>
                <c:pt idx="388">
                  <c:v>37402</c:v>
                </c:pt>
                <c:pt idx="389">
                  <c:v>37433</c:v>
                </c:pt>
                <c:pt idx="390">
                  <c:v>37463</c:v>
                </c:pt>
                <c:pt idx="391">
                  <c:v>37494</c:v>
                </c:pt>
                <c:pt idx="392">
                  <c:v>37525</c:v>
                </c:pt>
                <c:pt idx="393">
                  <c:v>37555</c:v>
                </c:pt>
                <c:pt idx="394">
                  <c:v>37586</c:v>
                </c:pt>
                <c:pt idx="395">
                  <c:v>37616</c:v>
                </c:pt>
                <c:pt idx="396">
                  <c:v>37647</c:v>
                </c:pt>
                <c:pt idx="397">
                  <c:v>37678</c:v>
                </c:pt>
                <c:pt idx="398">
                  <c:v>37706</c:v>
                </c:pt>
                <c:pt idx="399">
                  <c:v>37737</c:v>
                </c:pt>
                <c:pt idx="400">
                  <c:v>37767</c:v>
                </c:pt>
                <c:pt idx="401">
                  <c:v>37798</c:v>
                </c:pt>
                <c:pt idx="402">
                  <c:v>37828</c:v>
                </c:pt>
                <c:pt idx="403">
                  <c:v>37859</c:v>
                </c:pt>
                <c:pt idx="404">
                  <c:v>37890</c:v>
                </c:pt>
                <c:pt idx="405">
                  <c:v>37920</c:v>
                </c:pt>
                <c:pt idx="406">
                  <c:v>37951</c:v>
                </c:pt>
                <c:pt idx="407">
                  <c:v>37981</c:v>
                </c:pt>
                <c:pt idx="408">
                  <c:v>38012</c:v>
                </c:pt>
                <c:pt idx="409">
                  <c:v>38043</c:v>
                </c:pt>
                <c:pt idx="410">
                  <c:v>38072</c:v>
                </c:pt>
                <c:pt idx="411">
                  <c:v>38103</c:v>
                </c:pt>
                <c:pt idx="412">
                  <c:v>38133</c:v>
                </c:pt>
                <c:pt idx="413">
                  <c:v>38164</c:v>
                </c:pt>
                <c:pt idx="414">
                  <c:v>38194</c:v>
                </c:pt>
                <c:pt idx="415">
                  <c:v>38225</c:v>
                </c:pt>
                <c:pt idx="416">
                  <c:v>38256</c:v>
                </c:pt>
                <c:pt idx="417">
                  <c:v>38286</c:v>
                </c:pt>
                <c:pt idx="418">
                  <c:v>38317</c:v>
                </c:pt>
                <c:pt idx="419">
                  <c:v>38347</c:v>
                </c:pt>
                <c:pt idx="420">
                  <c:v>38378</c:v>
                </c:pt>
                <c:pt idx="421">
                  <c:v>38409</c:v>
                </c:pt>
                <c:pt idx="422">
                  <c:v>38437</c:v>
                </c:pt>
                <c:pt idx="423">
                  <c:v>38468</c:v>
                </c:pt>
                <c:pt idx="424">
                  <c:v>38498</c:v>
                </c:pt>
                <c:pt idx="425">
                  <c:v>38529</c:v>
                </c:pt>
                <c:pt idx="426">
                  <c:v>38559</c:v>
                </c:pt>
                <c:pt idx="427">
                  <c:v>38590</c:v>
                </c:pt>
                <c:pt idx="428">
                  <c:v>38621</c:v>
                </c:pt>
                <c:pt idx="429">
                  <c:v>38651</c:v>
                </c:pt>
                <c:pt idx="430">
                  <c:v>38682</c:v>
                </c:pt>
                <c:pt idx="431">
                  <c:v>38712</c:v>
                </c:pt>
                <c:pt idx="432">
                  <c:v>38743</c:v>
                </c:pt>
                <c:pt idx="433">
                  <c:v>38774</c:v>
                </c:pt>
                <c:pt idx="434">
                  <c:v>38802</c:v>
                </c:pt>
                <c:pt idx="435">
                  <c:v>38833</c:v>
                </c:pt>
                <c:pt idx="436">
                  <c:v>38863</c:v>
                </c:pt>
                <c:pt idx="437">
                  <c:v>38894</c:v>
                </c:pt>
                <c:pt idx="438">
                  <c:v>38924</c:v>
                </c:pt>
                <c:pt idx="439">
                  <c:v>38955</c:v>
                </c:pt>
                <c:pt idx="440">
                  <c:v>38986</c:v>
                </c:pt>
                <c:pt idx="441">
                  <c:v>39016</c:v>
                </c:pt>
                <c:pt idx="442">
                  <c:v>39047</c:v>
                </c:pt>
                <c:pt idx="443">
                  <c:v>39077</c:v>
                </c:pt>
                <c:pt idx="444">
                  <c:v>39108</c:v>
                </c:pt>
                <c:pt idx="445">
                  <c:v>39139</c:v>
                </c:pt>
                <c:pt idx="446">
                  <c:v>39167</c:v>
                </c:pt>
                <c:pt idx="447">
                  <c:v>39198</c:v>
                </c:pt>
                <c:pt idx="448">
                  <c:v>39228</c:v>
                </c:pt>
                <c:pt idx="449">
                  <c:v>39259</c:v>
                </c:pt>
                <c:pt idx="450">
                  <c:v>39289</c:v>
                </c:pt>
                <c:pt idx="451">
                  <c:v>39320</c:v>
                </c:pt>
                <c:pt idx="452">
                  <c:v>39351</c:v>
                </c:pt>
                <c:pt idx="453">
                  <c:v>39381</c:v>
                </c:pt>
                <c:pt idx="454">
                  <c:v>39412</c:v>
                </c:pt>
                <c:pt idx="455">
                  <c:v>39442</c:v>
                </c:pt>
                <c:pt idx="456">
                  <c:v>39473</c:v>
                </c:pt>
                <c:pt idx="457">
                  <c:v>39504</c:v>
                </c:pt>
                <c:pt idx="458">
                  <c:v>39533</c:v>
                </c:pt>
                <c:pt idx="459">
                  <c:v>39564</c:v>
                </c:pt>
                <c:pt idx="460">
                  <c:v>39594</c:v>
                </c:pt>
                <c:pt idx="461">
                  <c:v>39625</c:v>
                </c:pt>
                <c:pt idx="462">
                  <c:v>39655</c:v>
                </c:pt>
                <c:pt idx="463">
                  <c:v>39686</c:v>
                </c:pt>
                <c:pt idx="464">
                  <c:v>39717</c:v>
                </c:pt>
                <c:pt idx="465">
                  <c:v>39747</c:v>
                </c:pt>
                <c:pt idx="466">
                  <c:v>39778</c:v>
                </c:pt>
                <c:pt idx="467">
                  <c:v>39808</c:v>
                </c:pt>
                <c:pt idx="468">
                  <c:v>39839</c:v>
                </c:pt>
                <c:pt idx="469">
                  <c:v>39870</c:v>
                </c:pt>
                <c:pt idx="470">
                  <c:v>39898</c:v>
                </c:pt>
                <c:pt idx="471">
                  <c:v>39929</c:v>
                </c:pt>
                <c:pt idx="472">
                  <c:v>39959</c:v>
                </c:pt>
                <c:pt idx="473">
                  <c:v>39990</c:v>
                </c:pt>
                <c:pt idx="474">
                  <c:v>40020</c:v>
                </c:pt>
                <c:pt idx="475">
                  <c:v>40051</c:v>
                </c:pt>
                <c:pt idx="476">
                  <c:v>40082</c:v>
                </c:pt>
                <c:pt idx="477">
                  <c:v>40112</c:v>
                </c:pt>
                <c:pt idx="478">
                  <c:v>40143</c:v>
                </c:pt>
                <c:pt idx="479">
                  <c:v>40173</c:v>
                </c:pt>
                <c:pt idx="480">
                  <c:v>40204</c:v>
                </c:pt>
                <c:pt idx="481">
                  <c:v>40235</c:v>
                </c:pt>
                <c:pt idx="482">
                  <c:v>40263</c:v>
                </c:pt>
                <c:pt idx="483">
                  <c:v>40294</c:v>
                </c:pt>
                <c:pt idx="484">
                  <c:v>40324</c:v>
                </c:pt>
                <c:pt idx="485">
                  <c:v>40355</c:v>
                </c:pt>
                <c:pt idx="486">
                  <c:v>40385</c:v>
                </c:pt>
                <c:pt idx="487">
                  <c:v>40416</c:v>
                </c:pt>
                <c:pt idx="488">
                  <c:v>40447</c:v>
                </c:pt>
                <c:pt idx="489">
                  <c:v>40477</c:v>
                </c:pt>
                <c:pt idx="490">
                  <c:v>40508</c:v>
                </c:pt>
                <c:pt idx="491">
                  <c:v>40538</c:v>
                </c:pt>
                <c:pt idx="492">
                  <c:v>40569</c:v>
                </c:pt>
                <c:pt idx="493">
                  <c:v>40600</c:v>
                </c:pt>
                <c:pt idx="494">
                  <c:v>40628</c:v>
                </c:pt>
                <c:pt idx="495">
                  <c:v>40659</c:v>
                </c:pt>
                <c:pt idx="496">
                  <c:v>40689</c:v>
                </c:pt>
                <c:pt idx="497">
                  <c:v>40720</c:v>
                </c:pt>
                <c:pt idx="498">
                  <c:v>40750</c:v>
                </c:pt>
                <c:pt idx="499">
                  <c:v>40781</c:v>
                </c:pt>
                <c:pt idx="500">
                  <c:v>40812</c:v>
                </c:pt>
                <c:pt idx="501">
                  <c:v>40842</c:v>
                </c:pt>
                <c:pt idx="502">
                  <c:v>40873</c:v>
                </c:pt>
                <c:pt idx="503">
                  <c:v>40903</c:v>
                </c:pt>
                <c:pt idx="504">
                  <c:v>40934</c:v>
                </c:pt>
                <c:pt idx="505">
                  <c:v>40965</c:v>
                </c:pt>
                <c:pt idx="506">
                  <c:v>40994</c:v>
                </c:pt>
                <c:pt idx="507">
                  <c:v>41025</c:v>
                </c:pt>
                <c:pt idx="508">
                  <c:v>41055</c:v>
                </c:pt>
                <c:pt idx="509">
                  <c:v>41086</c:v>
                </c:pt>
                <c:pt idx="510">
                  <c:v>41116</c:v>
                </c:pt>
                <c:pt idx="511">
                  <c:v>41147</c:v>
                </c:pt>
                <c:pt idx="512">
                  <c:v>41178</c:v>
                </c:pt>
                <c:pt idx="513">
                  <c:v>41208</c:v>
                </c:pt>
                <c:pt idx="514">
                  <c:v>41239</c:v>
                </c:pt>
                <c:pt idx="515">
                  <c:v>41269</c:v>
                </c:pt>
                <c:pt idx="516">
                  <c:v>41300</c:v>
                </c:pt>
                <c:pt idx="517">
                  <c:v>41331</c:v>
                </c:pt>
                <c:pt idx="518">
                  <c:v>41359</c:v>
                </c:pt>
                <c:pt idx="519">
                  <c:v>41390</c:v>
                </c:pt>
                <c:pt idx="520">
                  <c:v>41420</c:v>
                </c:pt>
                <c:pt idx="521">
                  <c:v>41451</c:v>
                </c:pt>
                <c:pt idx="522">
                  <c:v>41481</c:v>
                </c:pt>
                <c:pt idx="523">
                  <c:v>41512</c:v>
                </c:pt>
                <c:pt idx="524">
                  <c:v>41543</c:v>
                </c:pt>
                <c:pt idx="525">
                  <c:v>41573</c:v>
                </c:pt>
                <c:pt idx="526">
                  <c:v>41604</c:v>
                </c:pt>
                <c:pt idx="527">
                  <c:v>41634</c:v>
                </c:pt>
                <c:pt idx="528">
                  <c:v>41665</c:v>
                </c:pt>
                <c:pt idx="529">
                  <c:v>41696</c:v>
                </c:pt>
                <c:pt idx="530">
                  <c:v>41724</c:v>
                </c:pt>
                <c:pt idx="531">
                  <c:v>41755</c:v>
                </c:pt>
                <c:pt idx="532">
                  <c:v>41785</c:v>
                </c:pt>
                <c:pt idx="533">
                  <c:v>41816</c:v>
                </c:pt>
                <c:pt idx="534">
                  <c:v>41846</c:v>
                </c:pt>
                <c:pt idx="535">
                  <c:v>41877</c:v>
                </c:pt>
                <c:pt idx="536">
                  <c:v>41908</c:v>
                </c:pt>
                <c:pt idx="537">
                  <c:v>41938</c:v>
                </c:pt>
                <c:pt idx="538">
                  <c:v>41969</c:v>
                </c:pt>
                <c:pt idx="539">
                  <c:v>41999</c:v>
                </c:pt>
                <c:pt idx="540">
                  <c:v>42030</c:v>
                </c:pt>
                <c:pt idx="541">
                  <c:v>42061</c:v>
                </c:pt>
                <c:pt idx="542">
                  <c:v>42089</c:v>
                </c:pt>
                <c:pt idx="543">
                  <c:v>42120</c:v>
                </c:pt>
                <c:pt idx="544">
                  <c:v>42150</c:v>
                </c:pt>
                <c:pt idx="545">
                  <c:v>42181</c:v>
                </c:pt>
                <c:pt idx="546">
                  <c:v>42211</c:v>
                </c:pt>
                <c:pt idx="547">
                  <c:v>42242</c:v>
                </c:pt>
                <c:pt idx="548">
                  <c:v>42273</c:v>
                </c:pt>
                <c:pt idx="549">
                  <c:v>42303</c:v>
                </c:pt>
                <c:pt idx="550">
                  <c:v>42334</c:v>
                </c:pt>
                <c:pt idx="551">
                  <c:v>42364</c:v>
                </c:pt>
                <c:pt idx="552">
                  <c:v>42395</c:v>
                </c:pt>
                <c:pt idx="553">
                  <c:v>42426</c:v>
                </c:pt>
                <c:pt idx="554">
                  <c:v>42455</c:v>
                </c:pt>
                <c:pt idx="555">
                  <c:v>42486</c:v>
                </c:pt>
                <c:pt idx="556">
                  <c:v>42516</c:v>
                </c:pt>
                <c:pt idx="557">
                  <c:v>42547</c:v>
                </c:pt>
                <c:pt idx="558">
                  <c:v>42577</c:v>
                </c:pt>
                <c:pt idx="559">
                  <c:v>42608</c:v>
                </c:pt>
                <c:pt idx="560">
                  <c:v>42639</c:v>
                </c:pt>
                <c:pt idx="561">
                  <c:v>42669</c:v>
                </c:pt>
                <c:pt idx="562">
                  <c:v>42700</c:v>
                </c:pt>
                <c:pt idx="563">
                  <c:v>42730</c:v>
                </c:pt>
                <c:pt idx="564">
                  <c:v>42761</c:v>
                </c:pt>
                <c:pt idx="565">
                  <c:v>42792</c:v>
                </c:pt>
                <c:pt idx="566">
                  <c:v>42820</c:v>
                </c:pt>
                <c:pt idx="567">
                  <c:v>42851</c:v>
                </c:pt>
                <c:pt idx="568">
                  <c:v>42881</c:v>
                </c:pt>
                <c:pt idx="569">
                  <c:v>42912</c:v>
                </c:pt>
                <c:pt idx="570">
                  <c:v>42942</c:v>
                </c:pt>
                <c:pt idx="571">
                  <c:v>42973</c:v>
                </c:pt>
                <c:pt idx="572">
                  <c:v>43004</c:v>
                </c:pt>
                <c:pt idx="573">
                  <c:v>43034</c:v>
                </c:pt>
                <c:pt idx="574">
                  <c:v>43065</c:v>
                </c:pt>
                <c:pt idx="575">
                  <c:v>43095</c:v>
                </c:pt>
                <c:pt idx="576">
                  <c:v>43126</c:v>
                </c:pt>
                <c:pt idx="577">
                  <c:v>43157</c:v>
                </c:pt>
                <c:pt idx="578">
                  <c:v>43185</c:v>
                </c:pt>
                <c:pt idx="579">
                  <c:v>43216</c:v>
                </c:pt>
                <c:pt idx="580">
                  <c:v>43246</c:v>
                </c:pt>
                <c:pt idx="581">
                  <c:v>43277</c:v>
                </c:pt>
                <c:pt idx="582">
                  <c:v>43307</c:v>
                </c:pt>
                <c:pt idx="583">
                  <c:v>43338</c:v>
                </c:pt>
                <c:pt idx="584">
                  <c:v>43369</c:v>
                </c:pt>
                <c:pt idx="585">
                  <c:v>43399</c:v>
                </c:pt>
                <c:pt idx="586">
                  <c:v>43430</c:v>
                </c:pt>
                <c:pt idx="587">
                  <c:v>43460</c:v>
                </c:pt>
                <c:pt idx="588">
                  <c:v>43491</c:v>
                </c:pt>
                <c:pt idx="589">
                  <c:v>43522</c:v>
                </c:pt>
                <c:pt idx="590">
                  <c:v>43550</c:v>
                </c:pt>
                <c:pt idx="591">
                  <c:v>43581</c:v>
                </c:pt>
                <c:pt idx="592">
                  <c:v>43611</c:v>
                </c:pt>
                <c:pt idx="593">
                  <c:v>43642</c:v>
                </c:pt>
                <c:pt idx="594">
                  <c:v>43672</c:v>
                </c:pt>
                <c:pt idx="595">
                  <c:v>43703</c:v>
                </c:pt>
                <c:pt idx="596">
                  <c:v>43734</c:v>
                </c:pt>
                <c:pt idx="597">
                  <c:v>43764</c:v>
                </c:pt>
                <c:pt idx="598">
                  <c:v>43795</c:v>
                </c:pt>
                <c:pt idx="599">
                  <c:v>43825</c:v>
                </c:pt>
                <c:pt idx="600">
                  <c:v>43856</c:v>
                </c:pt>
                <c:pt idx="601">
                  <c:v>43887</c:v>
                </c:pt>
                <c:pt idx="602">
                  <c:v>43916</c:v>
                </c:pt>
                <c:pt idx="603">
                  <c:v>43947</c:v>
                </c:pt>
                <c:pt idx="604">
                  <c:v>43977</c:v>
                </c:pt>
                <c:pt idx="605">
                  <c:v>44008</c:v>
                </c:pt>
                <c:pt idx="606">
                  <c:v>44038</c:v>
                </c:pt>
                <c:pt idx="607">
                  <c:v>44069</c:v>
                </c:pt>
                <c:pt idx="608">
                  <c:v>44100</c:v>
                </c:pt>
                <c:pt idx="609">
                  <c:v>44130</c:v>
                </c:pt>
                <c:pt idx="610">
                  <c:v>44161</c:v>
                </c:pt>
                <c:pt idx="611">
                  <c:v>44191</c:v>
                </c:pt>
                <c:pt idx="612">
                  <c:v>44222</c:v>
                </c:pt>
                <c:pt idx="613">
                  <c:v>44253</c:v>
                </c:pt>
                <c:pt idx="614">
                  <c:v>44281</c:v>
                </c:pt>
                <c:pt idx="615">
                  <c:v>44312</c:v>
                </c:pt>
                <c:pt idx="616">
                  <c:v>44342</c:v>
                </c:pt>
                <c:pt idx="617">
                  <c:v>44373</c:v>
                </c:pt>
                <c:pt idx="618">
                  <c:v>44403</c:v>
                </c:pt>
                <c:pt idx="619">
                  <c:v>44434</c:v>
                </c:pt>
                <c:pt idx="620">
                  <c:v>44465</c:v>
                </c:pt>
                <c:pt idx="621">
                  <c:v>44495</c:v>
                </c:pt>
                <c:pt idx="622">
                  <c:v>44526</c:v>
                </c:pt>
                <c:pt idx="623">
                  <c:v>44556</c:v>
                </c:pt>
                <c:pt idx="624">
                  <c:v>44587</c:v>
                </c:pt>
                <c:pt idx="625">
                  <c:v>44618</c:v>
                </c:pt>
                <c:pt idx="626">
                  <c:v>44646</c:v>
                </c:pt>
                <c:pt idx="627">
                  <c:v>44677</c:v>
                </c:pt>
                <c:pt idx="628">
                  <c:v>44707</c:v>
                </c:pt>
                <c:pt idx="629">
                  <c:v>44738</c:v>
                </c:pt>
                <c:pt idx="630">
                  <c:v>44768</c:v>
                </c:pt>
                <c:pt idx="631">
                  <c:v>44799</c:v>
                </c:pt>
                <c:pt idx="632">
                  <c:v>44830</c:v>
                </c:pt>
                <c:pt idx="633">
                  <c:v>44860</c:v>
                </c:pt>
                <c:pt idx="634">
                  <c:v>44891</c:v>
                </c:pt>
                <c:pt idx="635">
                  <c:v>44921</c:v>
                </c:pt>
                <c:pt idx="636">
                  <c:v>44957</c:v>
                </c:pt>
                <c:pt idx="637">
                  <c:v>44738</c:v>
                </c:pt>
                <c:pt idx="638">
                  <c:v>44830</c:v>
                </c:pt>
                <c:pt idx="639">
                  <c:v>44921</c:v>
                </c:pt>
                <c:pt idx="640">
                  <c:v>45011</c:v>
                </c:pt>
                <c:pt idx="641">
                  <c:v>45103</c:v>
                </c:pt>
                <c:pt idx="642">
                  <c:v>45195</c:v>
                </c:pt>
                <c:pt idx="643">
                  <c:v>45286</c:v>
                </c:pt>
                <c:pt idx="644">
                  <c:v>45377</c:v>
                </c:pt>
                <c:pt idx="645">
                  <c:v>45469</c:v>
                </c:pt>
                <c:pt idx="646">
                  <c:v>45561</c:v>
                </c:pt>
                <c:pt idx="647">
                  <c:v>45652</c:v>
                </c:pt>
              </c:numCache>
            </c:numRef>
          </c:cat>
          <c:val>
            <c:numRef>
              <c:f>Data!$F$7:$F$1000</c:f>
              <c:numCache>
                <c:formatCode>0.00</c:formatCode>
                <c:ptCount val="994"/>
                <c:pt idx="0">
                  <c:v>6</c:v>
                </c:pt>
                <c:pt idx="1">
                  <c:v>6</c:v>
                </c:pt>
                <c:pt idx="2">
                  <c:v>7.5</c:v>
                </c:pt>
                <c:pt idx="3">
                  <c:v>7.5</c:v>
                </c:pt>
                <c:pt idx="4">
                  <c:v>7.5</c:v>
                </c:pt>
                <c:pt idx="5">
                  <c:v>7.5</c:v>
                </c:pt>
                <c:pt idx="6">
                  <c:v>7</c:v>
                </c:pt>
                <c:pt idx="7">
                  <c:v>7</c:v>
                </c:pt>
                <c:pt idx="8">
                  <c:v>7</c:v>
                </c:pt>
                <c:pt idx="9">
                  <c:v>7</c:v>
                </c:pt>
                <c:pt idx="10">
                  <c:v>6.5</c:v>
                </c:pt>
                <c:pt idx="11">
                  <c:v>6</c:v>
                </c:pt>
                <c:pt idx="12">
                  <c:v>6</c:v>
                </c:pt>
                <c:pt idx="13">
                  <c:v>6</c:v>
                </c:pt>
                <c:pt idx="14">
                  <c:v>6</c:v>
                </c:pt>
                <c:pt idx="15">
                  <c:v>5</c:v>
                </c:pt>
                <c:pt idx="16">
                  <c:v>5</c:v>
                </c:pt>
                <c:pt idx="17">
                  <c:v>5</c:v>
                </c:pt>
                <c:pt idx="18">
                  <c:v>5</c:v>
                </c:pt>
                <c:pt idx="19">
                  <c:v>5</c:v>
                </c:pt>
                <c:pt idx="20">
                  <c:v>5</c:v>
                </c:pt>
                <c:pt idx="21">
                  <c:v>4.5</c:v>
                </c:pt>
                <c:pt idx="22">
                  <c:v>4.5</c:v>
                </c:pt>
                <c:pt idx="23">
                  <c:v>4</c:v>
                </c:pt>
                <c:pt idx="24">
                  <c:v>4</c:v>
                </c:pt>
                <c:pt idx="25">
                  <c:v>3</c:v>
                </c:pt>
                <c:pt idx="26">
                  <c:v>3</c:v>
                </c:pt>
                <c:pt idx="27">
                  <c:v>3</c:v>
                </c:pt>
                <c:pt idx="28">
                  <c:v>3</c:v>
                </c:pt>
                <c:pt idx="29">
                  <c:v>3</c:v>
                </c:pt>
                <c:pt idx="30">
                  <c:v>3</c:v>
                </c:pt>
                <c:pt idx="31">
                  <c:v>3</c:v>
                </c:pt>
                <c:pt idx="32">
                  <c:v>3</c:v>
                </c:pt>
                <c:pt idx="33">
                  <c:v>3.5</c:v>
                </c:pt>
                <c:pt idx="34">
                  <c:v>4</c:v>
                </c:pt>
                <c:pt idx="35">
                  <c:v>4.5</c:v>
                </c:pt>
                <c:pt idx="36">
                  <c:v>5</c:v>
                </c:pt>
                <c:pt idx="37">
                  <c:v>5</c:v>
                </c:pt>
                <c:pt idx="38">
                  <c:v>5</c:v>
                </c:pt>
                <c:pt idx="39">
                  <c:v>5</c:v>
                </c:pt>
                <c:pt idx="40">
                  <c:v>6</c:v>
                </c:pt>
                <c:pt idx="41">
                  <c:v>7</c:v>
                </c:pt>
                <c:pt idx="42">
                  <c:v>7</c:v>
                </c:pt>
                <c:pt idx="43">
                  <c:v>7</c:v>
                </c:pt>
                <c:pt idx="44">
                  <c:v>7</c:v>
                </c:pt>
                <c:pt idx="45">
                  <c:v>7</c:v>
                </c:pt>
                <c:pt idx="46">
                  <c:v>7</c:v>
                </c:pt>
                <c:pt idx="47">
                  <c:v>7</c:v>
                </c:pt>
                <c:pt idx="48">
                  <c:v>7</c:v>
                </c:pt>
                <c:pt idx="49">
                  <c:v>7</c:v>
                </c:pt>
                <c:pt idx="50">
                  <c:v>7</c:v>
                </c:pt>
                <c:pt idx="51">
                  <c:v>7</c:v>
                </c:pt>
                <c:pt idx="52">
                  <c:v>7</c:v>
                </c:pt>
                <c:pt idx="53">
                  <c:v>7</c:v>
                </c:pt>
                <c:pt idx="54">
                  <c:v>7</c:v>
                </c:pt>
                <c:pt idx="55">
                  <c:v>7</c:v>
                </c:pt>
                <c:pt idx="56">
                  <c:v>7</c:v>
                </c:pt>
                <c:pt idx="57">
                  <c:v>6.5</c:v>
                </c:pt>
                <c:pt idx="58">
                  <c:v>6.5</c:v>
                </c:pt>
                <c:pt idx="59">
                  <c:v>6</c:v>
                </c:pt>
                <c:pt idx="60">
                  <c:v>6</c:v>
                </c:pt>
                <c:pt idx="61">
                  <c:v>5.5</c:v>
                </c:pt>
                <c:pt idx="62">
                  <c:v>5</c:v>
                </c:pt>
                <c:pt idx="63">
                  <c:v>5</c:v>
                </c:pt>
                <c:pt idx="64">
                  <c:v>4.5</c:v>
                </c:pt>
                <c:pt idx="65">
                  <c:v>4.5</c:v>
                </c:pt>
                <c:pt idx="66">
                  <c:v>4.5</c:v>
                </c:pt>
                <c:pt idx="67">
                  <c:v>4</c:v>
                </c:pt>
                <c:pt idx="68">
                  <c:v>3.5</c:v>
                </c:pt>
                <c:pt idx="69">
                  <c:v>3.5</c:v>
                </c:pt>
                <c:pt idx="70">
                  <c:v>3.5</c:v>
                </c:pt>
                <c:pt idx="71">
                  <c:v>3.5</c:v>
                </c:pt>
                <c:pt idx="72">
                  <c:v>3.5</c:v>
                </c:pt>
                <c:pt idx="73">
                  <c:v>3.5</c:v>
                </c:pt>
                <c:pt idx="74">
                  <c:v>3.5</c:v>
                </c:pt>
                <c:pt idx="75">
                  <c:v>3.5</c:v>
                </c:pt>
                <c:pt idx="76">
                  <c:v>3.5</c:v>
                </c:pt>
                <c:pt idx="77">
                  <c:v>3.5</c:v>
                </c:pt>
                <c:pt idx="78">
                  <c:v>3.5</c:v>
                </c:pt>
                <c:pt idx="79">
                  <c:v>3.5</c:v>
                </c:pt>
                <c:pt idx="80">
                  <c:v>3.5</c:v>
                </c:pt>
                <c:pt idx="81">
                  <c:v>3.5</c:v>
                </c:pt>
                <c:pt idx="82">
                  <c:v>3.5</c:v>
                </c:pt>
                <c:pt idx="83">
                  <c:v>3.5</c:v>
                </c:pt>
                <c:pt idx="84">
                  <c:v>3.5</c:v>
                </c:pt>
                <c:pt idx="85">
                  <c:v>3.5</c:v>
                </c:pt>
                <c:pt idx="86">
                  <c:v>3.5</c:v>
                </c:pt>
                <c:pt idx="87">
                  <c:v>3.5</c:v>
                </c:pt>
                <c:pt idx="88">
                  <c:v>3.5</c:v>
                </c:pt>
                <c:pt idx="89">
                  <c:v>3.5</c:v>
                </c:pt>
                <c:pt idx="90">
                  <c:v>3.5</c:v>
                </c:pt>
                <c:pt idx="91">
                  <c:v>3.5</c:v>
                </c:pt>
                <c:pt idx="92">
                  <c:v>3.5</c:v>
                </c:pt>
                <c:pt idx="93">
                  <c:v>3.5</c:v>
                </c:pt>
                <c:pt idx="94">
                  <c:v>3.5</c:v>
                </c:pt>
                <c:pt idx="95">
                  <c:v>3</c:v>
                </c:pt>
                <c:pt idx="96">
                  <c:v>3</c:v>
                </c:pt>
                <c:pt idx="97">
                  <c:v>3</c:v>
                </c:pt>
                <c:pt idx="98">
                  <c:v>3</c:v>
                </c:pt>
                <c:pt idx="99">
                  <c:v>3</c:v>
                </c:pt>
                <c:pt idx="100">
                  <c:v>3</c:v>
                </c:pt>
                <c:pt idx="101">
                  <c:v>3</c:v>
                </c:pt>
                <c:pt idx="102">
                  <c:v>3</c:v>
                </c:pt>
                <c:pt idx="103">
                  <c:v>3</c:v>
                </c:pt>
                <c:pt idx="104">
                  <c:v>3</c:v>
                </c:pt>
                <c:pt idx="105">
                  <c:v>3</c:v>
                </c:pt>
                <c:pt idx="106">
                  <c:v>3</c:v>
                </c:pt>
                <c:pt idx="107">
                  <c:v>3</c:v>
                </c:pt>
                <c:pt idx="108">
                  <c:v>3</c:v>
                </c:pt>
                <c:pt idx="109">
                  <c:v>3</c:v>
                </c:pt>
                <c:pt idx="110">
                  <c:v>4</c:v>
                </c:pt>
                <c:pt idx="111">
                  <c:v>4</c:v>
                </c:pt>
                <c:pt idx="112">
                  <c:v>4</c:v>
                </c:pt>
                <c:pt idx="113">
                  <c:v>4</c:v>
                </c:pt>
                <c:pt idx="114">
                  <c:v>5</c:v>
                </c:pt>
                <c:pt idx="115">
                  <c:v>5</c:v>
                </c:pt>
                <c:pt idx="116">
                  <c:v>5</c:v>
                </c:pt>
                <c:pt idx="117">
                  <c:v>5</c:v>
                </c:pt>
                <c:pt idx="118">
                  <c:v>6</c:v>
                </c:pt>
                <c:pt idx="119">
                  <c:v>6</c:v>
                </c:pt>
                <c:pt idx="120">
                  <c:v>6</c:v>
                </c:pt>
                <c:pt idx="121">
                  <c:v>7</c:v>
                </c:pt>
                <c:pt idx="122">
                  <c:v>7</c:v>
                </c:pt>
                <c:pt idx="123">
                  <c:v>7</c:v>
                </c:pt>
                <c:pt idx="124">
                  <c:v>7.5</c:v>
                </c:pt>
                <c:pt idx="125">
                  <c:v>7.5</c:v>
                </c:pt>
                <c:pt idx="126">
                  <c:v>7.5</c:v>
                </c:pt>
                <c:pt idx="127">
                  <c:v>7.5</c:v>
                </c:pt>
                <c:pt idx="128">
                  <c:v>7.5</c:v>
                </c:pt>
                <c:pt idx="129">
                  <c:v>7.5</c:v>
                </c:pt>
                <c:pt idx="130">
                  <c:v>7.5</c:v>
                </c:pt>
                <c:pt idx="131">
                  <c:v>7.5</c:v>
                </c:pt>
                <c:pt idx="132">
                  <c:v>7.5</c:v>
                </c:pt>
                <c:pt idx="133">
                  <c:v>7.5</c:v>
                </c:pt>
                <c:pt idx="134">
                  <c:v>7.5</c:v>
                </c:pt>
                <c:pt idx="135">
                  <c:v>7.5</c:v>
                </c:pt>
                <c:pt idx="136">
                  <c:v>7.5</c:v>
                </c:pt>
                <c:pt idx="137">
                  <c:v>7.5</c:v>
                </c:pt>
                <c:pt idx="138">
                  <c:v>7.5</c:v>
                </c:pt>
                <c:pt idx="139">
                  <c:v>7.5</c:v>
                </c:pt>
                <c:pt idx="140">
                  <c:v>7.5</c:v>
                </c:pt>
                <c:pt idx="141">
                  <c:v>7.5</c:v>
                </c:pt>
                <c:pt idx="142">
                  <c:v>7.5</c:v>
                </c:pt>
                <c:pt idx="143">
                  <c:v>7.5</c:v>
                </c:pt>
                <c:pt idx="144">
                  <c:v>7.5</c:v>
                </c:pt>
                <c:pt idx="145">
                  <c:v>7.5</c:v>
                </c:pt>
                <c:pt idx="146">
                  <c:v>7.5</c:v>
                </c:pt>
                <c:pt idx="147">
                  <c:v>7.5</c:v>
                </c:pt>
                <c:pt idx="148">
                  <c:v>7.5</c:v>
                </c:pt>
                <c:pt idx="149">
                  <c:v>7.5</c:v>
                </c:pt>
                <c:pt idx="150">
                  <c:v>7.5</c:v>
                </c:pt>
                <c:pt idx="151">
                  <c:v>7</c:v>
                </c:pt>
                <c:pt idx="152">
                  <c:v>7</c:v>
                </c:pt>
                <c:pt idx="153">
                  <c:v>6</c:v>
                </c:pt>
                <c:pt idx="154">
                  <c:v>6</c:v>
                </c:pt>
                <c:pt idx="155">
                  <c:v>5</c:v>
                </c:pt>
                <c:pt idx="156">
                  <c:v>5</c:v>
                </c:pt>
                <c:pt idx="157">
                  <c:v>5</c:v>
                </c:pt>
                <c:pt idx="158">
                  <c:v>4</c:v>
                </c:pt>
                <c:pt idx="159">
                  <c:v>4</c:v>
                </c:pt>
                <c:pt idx="160">
                  <c:v>4</c:v>
                </c:pt>
                <c:pt idx="161">
                  <c:v>4</c:v>
                </c:pt>
                <c:pt idx="162">
                  <c:v>4</c:v>
                </c:pt>
                <c:pt idx="163">
                  <c:v>4</c:v>
                </c:pt>
                <c:pt idx="164">
                  <c:v>4</c:v>
                </c:pt>
                <c:pt idx="165">
                  <c:v>4</c:v>
                </c:pt>
                <c:pt idx="166">
                  <c:v>4</c:v>
                </c:pt>
                <c:pt idx="167">
                  <c:v>4</c:v>
                </c:pt>
                <c:pt idx="168">
                  <c:v>4</c:v>
                </c:pt>
                <c:pt idx="169">
                  <c:v>4</c:v>
                </c:pt>
                <c:pt idx="170">
                  <c:v>4</c:v>
                </c:pt>
                <c:pt idx="171">
                  <c:v>4</c:v>
                </c:pt>
                <c:pt idx="172">
                  <c:v>4</c:v>
                </c:pt>
                <c:pt idx="173">
                  <c:v>4.5</c:v>
                </c:pt>
                <c:pt idx="174">
                  <c:v>4.5</c:v>
                </c:pt>
                <c:pt idx="175">
                  <c:v>4.5</c:v>
                </c:pt>
                <c:pt idx="176">
                  <c:v>4.5</c:v>
                </c:pt>
                <c:pt idx="177">
                  <c:v>4.5</c:v>
                </c:pt>
                <c:pt idx="178">
                  <c:v>4.5</c:v>
                </c:pt>
                <c:pt idx="179">
                  <c:v>4.5</c:v>
                </c:pt>
                <c:pt idx="180">
                  <c:v>4.5</c:v>
                </c:pt>
                <c:pt idx="181">
                  <c:v>4.5</c:v>
                </c:pt>
                <c:pt idx="182">
                  <c:v>4.5</c:v>
                </c:pt>
                <c:pt idx="183">
                  <c:v>4.5</c:v>
                </c:pt>
                <c:pt idx="184">
                  <c:v>4.5</c:v>
                </c:pt>
                <c:pt idx="185">
                  <c:v>4.5</c:v>
                </c:pt>
                <c:pt idx="186">
                  <c:v>4.5</c:v>
                </c:pt>
                <c:pt idx="187">
                  <c:v>4</c:v>
                </c:pt>
                <c:pt idx="188">
                  <c:v>4</c:v>
                </c:pt>
                <c:pt idx="189">
                  <c:v>4</c:v>
                </c:pt>
                <c:pt idx="190">
                  <c:v>4</c:v>
                </c:pt>
                <c:pt idx="191">
                  <c:v>4</c:v>
                </c:pt>
                <c:pt idx="192">
                  <c:v>4</c:v>
                </c:pt>
                <c:pt idx="193">
                  <c:v>4</c:v>
                </c:pt>
                <c:pt idx="194">
                  <c:v>3.5</c:v>
                </c:pt>
                <c:pt idx="195">
                  <c:v>3.5</c:v>
                </c:pt>
                <c:pt idx="196">
                  <c:v>3.5</c:v>
                </c:pt>
                <c:pt idx="197">
                  <c:v>3.5</c:v>
                </c:pt>
                <c:pt idx="198">
                  <c:v>3.5</c:v>
                </c:pt>
                <c:pt idx="199">
                  <c:v>3.5</c:v>
                </c:pt>
                <c:pt idx="200">
                  <c:v>3.5</c:v>
                </c:pt>
                <c:pt idx="201">
                  <c:v>3.5</c:v>
                </c:pt>
                <c:pt idx="202">
                  <c:v>3.5</c:v>
                </c:pt>
                <c:pt idx="203">
                  <c:v>3.5</c:v>
                </c:pt>
                <c:pt idx="204">
                  <c:v>3</c:v>
                </c:pt>
                <c:pt idx="205">
                  <c:v>3</c:v>
                </c:pt>
                <c:pt idx="206">
                  <c:v>3</c:v>
                </c:pt>
                <c:pt idx="207">
                  <c:v>3</c:v>
                </c:pt>
                <c:pt idx="208">
                  <c:v>3</c:v>
                </c:pt>
                <c:pt idx="209">
                  <c:v>3</c:v>
                </c:pt>
                <c:pt idx="210">
                  <c:v>3</c:v>
                </c:pt>
                <c:pt idx="211">
                  <c:v>3</c:v>
                </c:pt>
                <c:pt idx="212">
                  <c:v>3</c:v>
                </c:pt>
                <c:pt idx="213">
                  <c:v>3</c:v>
                </c:pt>
                <c:pt idx="214">
                  <c:v>3</c:v>
                </c:pt>
                <c:pt idx="215">
                  <c:v>2.5</c:v>
                </c:pt>
                <c:pt idx="216">
                  <c:v>2.5</c:v>
                </c:pt>
                <c:pt idx="217">
                  <c:v>2.5</c:v>
                </c:pt>
                <c:pt idx="218">
                  <c:v>2.5</c:v>
                </c:pt>
                <c:pt idx="219">
                  <c:v>2.5</c:v>
                </c:pt>
                <c:pt idx="220">
                  <c:v>2.5</c:v>
                </c:pt>
                <c:pt idx="221">
                  <c:v>2.5</c:v>
                </c:pt>
                <c:pt idx="222">
                  <c:v>3</c:v>
                </c:pt>
                <c:pt idx="223">
                  <c:v>3.5</c:v>
                </c:pt>
                <c:pt idx="224">
                  <c:v>3.5</c:v>
                </c:pt>
                <c:pt idx="225">
                  <c:v>3.5</c:v>
                </c:pt>
                <c:pt idx="226">
                  <c:v>3.5</c:v>
                </c:pt>
                <c:pt idx="227">
                  <c:v>3.5</c:v>
                </c:pt>
                <c:pt idx="228">
                  <c:v>4</c:v>
                </c:pt>
                <c:pt idx="229">
                  <c:v>4</c:v>
                </c:pt>
                <c:pt idx="230">
                  <c:v>4</c:v>
                </c:pt>
                <c:pt idx="231">
                  <c:v>4.5</c:v>
                </c:pt>
                <c:pt idx="232">
                  <c:v>4.5</c:v>
                </c:pt>
                <c:pt idx="233">
                  <c:v>5</c:v>
                </c:pt>
                <c:pt idx="234">
                  <c:v>5</c:v>
                </c:pt>
                <c:pt idx="235">
                  <c:v>5</c:v>
                </c:pt>
                <c:pt idx="236">
                  <c:v>5</c:v>
                </c:pt>
                <c:pt idx="237">
                  <c:v>6</c:v>
                </c:pt>
                <c:pt idx="238">
                  <c:v>6</c:v>
                </c:pt>
                <c:pt idx="239">
                  <c:v>6</c:v>
                </c:pt>
                <c:pt idx="240">
                  <c:v>6</c:v>
                </c:pt>
                <c:pt idx="241">
                  <c:v>6</c:v>
                </c:pt>
                <c:pt idx="242">
                  <c:v>6</c:v>
                </c:pt>
                <c:pt idx="243">
                  <c:v>6</c:v>
                </c:pt>
                <c:pt idx="244">
                  <c:v>6</c:v>
                </c:pt>
                <c:pt idx="245">
                  <c:v>6</c:v>
                </c:pt>
                <c:pt idx="246">
                  <c:v>6</c:v>
                </c:pt>
                <c:pt idx="247">
                  <c:v>6</c:v>
                </c:pt>
                <c:pt idx="248">
                  <c:v>6</c:v>
                </c:pt>
                <c:pt idx="249">
                  <c:v>6</c:v>
                </c:pt>
                <c:pt idx="250">
                  <c:v>6</c:v>
                </c:pt>
                <c:pt idx="251">
                  <c:v>6</c:v>
                </c:pt>
                <c:pt idx="252">
                  <c:v>6</c:v>
                </c:pt>
                <c:pt idx="253">
                  <c:v>6.5</c:v>
                </c:pt>
                <c:pt idx="254">
                  <c:v>6.5</c:v>
                </c:pt>
                <c:pt idx="255">
                  <c:v>6.5</c:v>
                </c:pt>
                <c:pt idx="256">
                  <c:v>6.5</c:v>
                </c:pt>
                <c:pt idx="257">
                  <c:v>6.5</c:v>
                </c:pt>
                <c:pt idx="258">
                  <c:v>6.5</c:v>
                </c:pt>
                <c:pt idx="259">
                  <c:v>7.5</c:v>
                </c:pt>
                <c:pt idx="260">
                  <c:v>7.5</c:v>
                </c:pt>
                <c:pt idx="261">
                  <c:v>7.5</c:v>
                </c:pt>
                <c:pt idx="262">
                  <c:v>7.5</c:v>
                </c:pt>
                <c:pt idx="263">
                  <c:v>8</c:v>
                </c:pt>
                <c:pt idx="264">
                  <c:v>8</c:v>
                </c:pt>
                <c:pt idx="265">
                  <c:v>8</c:v>
                </c:pt>
                <c:pt idx="266">
                  <c:v>8</c:v>
                </c:pt>
                <c:pt idx="267">
                  <c:v>8</c:v>
                </c:pt>
                <c:pt idx="268">
                  <c:v>8</c:v>
                </c:pt>
                <c:pt idx="269">
                  <c:v>8</c:v>
                </c:pt>
                <c:pt idx="270">
                  <c:v>8.75</c:v>
                </c:pt>
                <c:pt idx="271">
                  <c:v>8.75</c:v>
                </c:pt>
                <c:pt idx="272">
                  <c:v>8.25</c:v>
                </c:pt>
                <c:pt idx="273">
                  <c:v>8.25</c:v>
                </c:pt>
                <c:pt idx="274">
                  <c:v>8.25</c:v>
                </c:pt>
                <c:pt idx="275">
                  <c:v>8.25</c:v>
                </c:pt>
                <c:pt idx="276">
                  <c:v>8.25</c:v>
                </c:pt>
                <c:pt idx="277">
                  <c:v>8</c:v>
                </c:pt>
                <c:pt idx="278">
                  <c:v>7.5</c:v>
                </c:pt>
                <c:pt idx="279">
                  <c:v>7.25</c:v>
                </c:pt>
                <c:pt idx="280">
                  <c:v>7.25</c:v>
                </c:pt>
                <c:pt idx="281">
                  <c:v>7.25</c:v>
                </c:pt>
                <c:pt idx="282">
                  <c:v>6.75</c:v>
                </c:pt>
                <c:pt idx="283">
                  <c:v>6.75</c:v>
                </c:pt>
                <c:pt idx="284">
                  <c:v>6.25</c:v>
                </c:pt>
                <c:pt idx="285">
                  <c:v>5.75</c:v>
                </c:pt>
                <c:pt idx="286">
                  <c:v>5.75</c:v>
                </c:pt>
                <c:pt idx="287">
                  <c:v>5.75</c:v>
                </c:pt>
                <c:pt idx="288">
                  <c:v>5.75</c:v>
                </c:pt>
                <c:pt idx="289">
                  <c:v>5.25</c:v>
                </c:pt>
                <c:pt idx="290">
                  <c:v>5.25</c:v>
                </c:pt>
                <c:pt idx="291">
                  <c:v>5</c:v>
                </c:pt>
                <c:pt idx="292">
                  <c:v>4.5</c:v>
                </c:pt>
                <c:pt idx="293">
                  <c:v>4.5</c:v>
                </c:pt>
                <c:pt idx="294">
                  <c:v>4.5</c:v>
                </c:pt>
                <c:pt idx="295">
                  <c:v>4.5</c:v>
                </c:pt>
                <c:pt idx="296">
                  <c:v>4.5</c:v>
                </c:pt>
                <c:pt idx="297">
                  <c:v>4.5</c:v>
                </c:pt>
                <c:pt idx="298">
                  <c:v>4.5</c:v>
                </c:pt>
                <c:pt idx="299">
                  <c:v>4.5</c:v>
                </c:pt>
                <c:pt idx="300">
                  <c:v>4.5</c:v>
                </c:pt>
                <c:pt idx="301">
                  <c:v>4.5</c:v>
                </c:pt>
                <c:pt idx="302">
                  <c:v>4</c:v>
                </c:pt>
                <c:pt idx="303">
                  <c:v>4</c:v>
                </c:pt>
                <c:pt idx="304">
                  <c:v>4</c:v>
                </c:pt>
                <c:pt idx="305">
                  <c:v>4</c:v>
                </c:pt>
                <c:pt idx="306">
                  <c:v>4</c:v>
                </c:pt>
                <c:pt idx="307">
                  <c:v>3.5</c:v>
                </c:pt>
                <c:pt idx="308">
                  <c:v>3.5</c:v>
                </c:pt>
                <c:pt idx="309">
                  <c:v>3.5</c:v>
                </c:pt>
                <c:pt idx="310">
                  <c:v>3.5</c:v>
                </c:pt>
                <c:pt idx="311">
                  <c:v>3</c:v>
                </c:pt>
                <c:pt idx="312">
                  <c:v>3</c:v>
                </c:pt>
                <c:pt idx="313">
                  <c:v>3</c:v>
                </c:pt>
                <c:pt idx="314">
                  <c:v>3</c:v>
                </c:pt>
                <c:pt idx="315">
                  <c:v>2.5</c:v>
                </c:pt>
                <c:pt idx="316">
                  <c:v>2.5</c:v>
                </c:pt>
                <c:pt idx="317">
                  <c:v>2.5</c:v>
                </c:pt>
                <c:pt idx="318">
                  <c:v>2.5</c:v>
                </c:pt>
                <c:pt idx="319">
                  <c:v>2.5</c:v>
                </c:pt>
                <c:pt idx="320">
                  <c:v>2.5</c:v>
                </c:pt>
                <c:pt idx="321">
                  <c:v>2.5</c:v>
                </c:pt>
                <c:pt idx="322">
                  <c:v>2.5</c:v>
                </c:pt>
                <c:pt idx="323">
                  <c:v>2.5</c:v>
                </c:pt>
                <c:pt idx="324">
                  <c:v>2.5</c:v>
                </c:pt>
                <c:pt idx="325">
                  <c:v>2.5</c:v>
                </c:pt>
                <c:pt idx="326">
                  <c:v>2.5</c:v>
                </c:pt>
                <c:pt idx="327">
                  <c:v>2.5</c:v>
                </c:pt>
                <c:pt idx="328">
                  <c:v>2.5</c:v>
                </c:pt>
                <c:pt idx="329">
                  <c:v>2.5</c:v>
                </c:pt>
                <c:pt idx="330">
                  <c:v>2.5</c:v>
                </c:pt>
                <c:pt idx="331">
                  <c:v>2.5</c:v>
                </c:pt>
                <c:pt idx="332">
                  <c:v>2.5</c:v>
                </c:pt>
                <c:pt idx="333">
                  <c:v>2.5</c:v>
                </c:pt>
                <c:pt idx="334">
                  <c:v>2.5</c:v>
                </c:pt>
                <c:pt idx="335">
                  <c:v>2.5</c:v>
                </c:pt>
                <c:pt idx="336">
                  <c:v>2.5</c:v>
                </c:pt>
                <c:pt idx="337">
                  <c:v>2.5</c:v>
                </c:pt>
                <c:pt idx="338">
                  <c:v>2.5</c:v>
                </c:pt>
                <c:pt idx="339">
                  <c:v>2.5</c:v>
                </c:pt>
                <c:pt idx="340">
                  <c:v>2.5</c:v>
                </c:pt>
                <c:pt idx="341">
                  <c:v>2.5</c:v>
                </c:pt>
                <c:pt idx="342">
                  <c:v>2.5</c:v>
                </c:pt>
                <c:pt idx="343">
                  <c:v>2.5</c:v>
                </c:pt>
                <c:pt idx="344">
                  <c:v>2.5</c:v>
                </c:pt>
                <c:pt idx="345">
                  <c:v>2.5</c:v>
                </c:pt>
                <c:pt idx="346">
                  <c:v>2.5</c:v>
                </c:pt>
                <c:pt idx="347">
                  <c:v>2.5</c:v>
                </c:pt>
                <c:pt idx="348">
                  <c:v>3</c:v>
                </c:pt>
                <c:pt idx="349">
                  <c:v>3</c:v>
                </c:pt>
                <c:pt idx="350">
                  <c:v>3</c:v>
                </c:pt>
                <c:pt idx="351">
                  <c:v>2.5</c:v>
                </c:pt>
                <c:pt idx="352">
                  <c:v>2.5</c:v>
                </c:pt>
                <c:pt idx="353">
                  <c:v>2.5</c:v>
                </c:pt>
                <c:pt idx="354">
                  <c:v>2.5</c:v>
                </c:pt>
                <c:pt idx="355">
                  <c:v>2.5</c:v>
                </c:pt>
                <c:pt idx="356">
                  <c:v>2.5</c:v>
                </c:pt>
                <c:pt idx="357">
                  <c:v>2.5</c:v>
                </c:pt>
                <c:pt idx="358">
                  <c:v>3</c:v>
                </c:pt>
                <c:pt idx="359">
                  <c:v>3</c:v>
                </c:pt>
                <c:pt idx="360">
                  <c:v>3</c:v>
                </c:pt>
                <c:pt idx="361">
                  <c:v>3.25</c:v>
                </c:pt>
                <c:pt idx="362">
                  <c:v>3.5</c:v>
                </c:pt>
                <c:pt idx="363">
                  <c:v>3.75</c:v>
                </c:pt>
                <c:pt idx="364">
                  <c:v>3.75</c:v>
                </c:pt>
                <c:pt idx="365">
                  <c:v>4.25</c:v>
                </c:pt>
                <c:pt idx="366">
                  <c:v>4.25</c:v>
                </c:pt>
                <c:pt idx="367">
                  <c:v>4.25</c:v>
                </c:pt>
                <c:pt idx="368">
                  <c:v>4.5</c:v>
                </c:pt>
                <c:pt idx="369">
                  <c:v>4.75</c:v>
                </c:pt>
                <c:pt idx="370">
                  <c:v>4.75</c:v>
                </c:pt>
                <c:pt idx="371">
                  <c:v>4.75</c:v>
                </c:pt>
                <c:pt idx="372">
                  <c:v>4.75</c:v>
                </c:pt>
                <c:pt idx="373">
                  <c:v>4.75</c:v>
                </c:pt>
                <c:pt idx="374">
                  <c:v>4.75</c:v>
                </c:pt>
                <c:pt idx="375">
                  <c:v>4.75</c:v>
                </c:pt>
                <c:pt idx="376">
                  <c:v>4.5</c:v>
                </c:pt>
                <c:pt idx="377">
                  <c:v>4.5</c:v>
                </c:pt>
                <c:pt idx="378">
                  <c:v>4.5</c:v>
                </c:pt>
                <c:pt idx="379">
                  <c:v>4.25</c:v>
                </c:pt>
                <c:pt idx="380">
                  <c:v>3.75</c:v>
                </c:pt>
                <c:pt idx="381">
                  <c:v>3.75</c:v>
                </c:pt>
                <c:pt idx="382">
                  <c:v>3.25</c:v>
                </c:pt>
                <c:pt idx="383">
                  <c:v>3.25</c:v>
                </c:pt>
                <c:pt idx="384">
                  <c:v>3.25</c:v>
                </c:pt>
                <c:pt idx="385">
                  <c:v>3.25</c:v>
                </c:pt>
                <c:pt idx="386">
                  <c:v>3.25</c:v>
                </c:pt>
                <c:pt idx="387">
                  <c:v>3.25</c:v>
                </c:pt>
                <c:pt idx="388">
                  <c:v>3.25</c:v>
                </c:pt>
                <c:pt idx="389">
                  <c:v>3.25</c:v>
                </c:pt>
                <c:pt idx="390">
                  <c:v>3.25</c:v>
                </c:pt>
                <c:pt idx="391">
                  <c:v>3.25</c:v>
                </c:pt>
                <c:pt idx="392">
                  <c:v>3.25</c:v>
                </c:pt>
                <c:pt idx="393">
                  <c:v>3.25</c:v>
                </c:pt>
                <c:pt idx="394">
                  <c:v>3.25</c:v>
                </c:pt>
                <c:pt idx="395">
                  <c:v>2.75</c:v>
                </c:pt>
                <c:pt idx="396">
                  <c:v>2.75</c:v>
                </c:pt>
                <c:pt idx="397">
                  <c:v>2.75</c:v>
                </c:pt>
                <c:pt idx="398">
                  <c:v>2.5</c:v>
                </c:pt>
                <c:pt idx="399">
                  <c:v>2.5</c:v>
                </c:pt>
                <c:pt idx="400">
                  <c:v>2.5</c:v>
                </c:pt>
                <c:pt idx="401">
                  <c:v>2</c:v>
                </c:pt>
                <c:pt idx="402">
                  <c:v>2</c:v>
                </c:pt>
                <c:pt idx="403">
                  <c:v>2</c:v>
                </c:pt>
                <c:pt idx="404">
                  <c:v>2</c:v>
                </c:pt>
                <c:pt idx="405">
                  <c:v>2</c:v>
                </c:pt>
                <c:pt idx="406">
                  <c:v>2</c:v>
                </c:pt>
                <c:pt idx="407">
                  <c:v>2</c:v>
                </c:pt>
                <c:pt idx="408">
                  <c:v>2</c:v>
                </c:pt>
                <c:pt idx="409">
                  <c:v>2</c:v>
                </c:pt>
                <c:pt idx="410">
                  <c:v>2</c:v>
                </c:pt>
                <c:pt idx="411">
                  <c:v>2</c:v>
                </c:pt>
                <c:pt idx="412">
                  <c:v>2</c:v>
                </c:pt>
                <c:pt idx="413">
                  <c:v>2</c:v>
                </c:pt>
                <c:pt idx="414">
                  <c:v>2</c:v>
                </c:pt>
                <c:pt idx="415">
                  <c:v>2</c:v>
                </c:pt>
                <c:pt idx="416">
                  <c:v>2</c:v>
                </c:pt>
                <c:pt idx="417">
                  <c:v>2</c:v>
                </c:pt>
                <c:pt idx="418">
                  <c:v>2</c:v>
                </c:pt>
                <c:pt idx="419">
                  <c:v>2</c:v>
                </c:pt>
                <c:pt idx="420">
                  <c:v>2</c:v>
                </c:pt>
                <c:pt idx="421">
                  <c:v>2</c:v>
                </c:pt>
                <c:pt idx="422">
                  <c:v>2</c:v>
                </c:pt>
                <c:pt idx="423">
                  <c:v>2</c:v>
                </c:pt>
                <c:pt idx="424">
                  <c:v>2</c:v>
                </c:pt>
                <c:pt idx="425">
                  <c:v>2</c:v>
                </c:pt>
                <c:pt idx="426">
                  <c:v>2</c:v>
                </c:pt>
                <c:pt idx="427">
                  <c:v>2</c:v>
                </c:pt>
                <c:pt idx="428">
                  <c:v>2</c:v>
                </c:pt>
                <c:pt idx="429">
                  <c:v>2</c:v>
                </c:pt>
                <c:pt idx="430">
                  <c:v>2</c:v>
                </c:pt>
                <c:pt idx="431">
                  <c:v>2.25</c:v>
                </c:pt>
                <c:pt idx="432">
                  <c:v>2.25</c:v>
                </c:pt>
                <c:pt idx="433">
                  <c:v>2.25</c:v>
                </c:pt>
                <c:pt idx="434">
                  <c:v>2.5</c:v>
                </c:pt>
                <c:pt idx="435">
                  <c:v>2.5</c:v>
                </c:pt>
                <c:pt idx="436">
                  <c:v>2.5</c:v>
                </c:pt>
                <c:pt idx="437">
                  <c:v>2.75</c:v>
                </c:pt>
                <c:pt idx="438">
                  <c:v>2.75</c:v>
                </c:pt>
                <c:pt idx="439">
                  <c:v>3</c:v>
                </c:pt>
                <c:pt idx="440">
                  <c:v>3</c:v>
                </c:pt>
                <c:pt idx="441">
                  <c:v>3.25</c:v>
                </c:pt>
                <c:pt idx="442">
                  <c:v>3.25</c:v>
                </c:pt>
                <c:pt idx="443">
                  <c:v>3.5</c:v>
                </c:pt>
                <c:pt idx="444">
                  <c:v>3.5</c:v>
                </c:pt>
                <c:pt idx="445">
                  <c:v>3.5</c:v>
                </c:pt>
                <c:pt idx="446">
                  <c:v>3.75</c:v>
                </c:pt>
                <c:pt idx="447">
                  <c:v>3.75</c:v>
                </c:pt>
                <c:pt idx="448">
                  <c:v>3.75</c:v>
                </c:pt>
                <c:pt idx="449">
                  <c:v>4</c:v>
                </c:pt>
                <c:pt idx="450">
                  <c:v>4</c:v>
                </c:pt>
                <c:pt idx="451">
                  <c:v>4</c:v>
                </c:pt>
                <c:pt idx="452">
                  <c:v>4</c:v>
                </c:pt>
                <c:pt idx="453">
                  <c:v>4</c:v>
                </c:pt>
                <c:pt idx="454">
                  <c:v>4</c:v>
                </c:pt>
                <c:pt idx="455">
                  <c:v>4</c:v>
                </c:pt>
                <c:pt idx="456">
                  <c:v>4</c:v>
                </c:pt>
                <c:pt idx="457">
                  <c:v>4</c:v>
                </c:pt>
                <c:pt idx="458">
                  <c:v>4</c:v>
                </c:pt>
                <c:pt idx="459">
                  <c:v>4</c:v>
                </c:pt>
                <c:pt idx="460">
                  <c:v>4</c:v>
                </c:pt>
                <c:pt idx="461">
                  <c:v>4</c:v>
                </c:pt>
                <c:pt idx="462">
                  <c:v>4.25</c:v>
                </c:pt>
                <c:pt idx="463">
                  <c:v>4.25</c:v>
                </c:pt>
                <c:pt idx="464">
                  <c:v>4.25</c:v>
                </c:pt>
                <c:pt idx="465">
                  <c:v>3.75</c:v>
                </c:pt>
                <c:pt idx="466">
                  <c:v>3.25</c:v>
                </c:pt>
                <c:pt idx="467">
                  <c:v>2.5</c:v>
                </c:pt>
                <c:pt idx="468">
                  <c:v>2</c:v>
                </c:pt>
                <c:pt idx="469">
                  <c:v>2</c:v>
                </c:pt>
                <c:pt idx="470">
                  <c:v>1.5</c:v>
                </c:pt>
                <c:pt idx="471">
                  <c:v>1.25</c:v>
                </c:pt>
                <c:pt idx="472">
                  <c:v>1</c:v>
                </c:pt>
                <c:pt idx="473">
                  <c:v>1</c:v>
                </c:pt>
                <c:pt idx="474">
                  <c:v>1</c:v>
                </c:pt>
                <c:pt idx="475">
                  <c:v>1</c:v>
                </c:pt>
                <c:pt idx="476">
                  <c:v>1</c:v>
                </c:pt>
                <c:pt idx="477">
                  <c:v>1</c:v>
                </c:pt>
                <c:pt idx="478">
                  <c:v>1</c:v>
                </c:pt>
                <c:pt idx="479">
                  <c:v>1</c:v>
                </c:pt>
                <c:pt idx="480">
                  <c:v>1</c:v>
                </c:pt>
                <c:pt idx="481">
                  <c:v>1</c:v>
                </c:pt>
                <c:pt idx="482">
                  <c:v>1</c:v>
                </c:pt>
                <c:pt idx="483">
                  <c:v>1</c:v>
                </c:pt>
                <c:pt idx="484">
                  <c:v>1</c:v>
                </c:pt>
                <c:pt idx="485">
                  <c:v>1</c:v>
                </c:pt>
                <c:pt idx="486">
                  <c:v>1</c:v>
                </c:pt>
                <c:pt idx="487">
                  <c:v>1</c:v>
                </c:pt>
                <c:pt idx="488">
                  <c:v>1</c:v>
                </c:pt>
                <c:pt idx="489">
                  <c:v>1</c:v>
                </c:pt>
                <c:pt idx="490">
                  <c:v>1</c:v>
                </c:pt>
                <c:pt idx="491">
                  <c:v>1</c:v>
                </c:pt>
                <c:pt idx="492">
                  <c:v>1</c:v>
                </c:pt>
                <c:pt idx="493">
                  <c:v>1</c:v>
                </c:pt>
                <c:pt idx="494">
                  <c:v>1</c:v>
                </c:pt>
                <c:pt idx="495">
                  <c:v>1.25</c:v>
                </c:pt>
                <c:pt idx="496">
                  <c:v>1.25</c:v>
                </c:pt>
                <c:pt idx="497">
                  <c:v>1.25</c:v>
                </c:pt>
                <c:pt idx="498">
                  <c:v>1.5</c:v>
                </c:pt>
                <c:pt idx="499">
                  <c:v>1.5</c:v>
                </c:pt>
                <c:pt idx="500">
                  <c:v>1.5</c:v>
                </c:pt>
                <c:pt idx="501">
                  <c:v>1.5</c:v>
                </c:pt>
                <c:pt idx="502">
                  <c:v>1.25</c:v>
                </c:pt>
                <c:pt idx="503">
                  <c:v>1</c:v>
                </c:pt>
                <c:pt idx="504">
                  <c:v>1</c:v>
                </c:pt>
                <c:pt idx="505">
                  <c:v>1</c:v>
                </c:pt>
                <c:pt idx="506">
                  <c:v>1</c:v>
                </c:pt>
                <c:pt idx="507">
                  <c:v>1</c:v>
                </c:pt>
                <c:pt idx="508">
                  <c:v>1</c:v>
                </c:pt>
                <c:pt idx="509">
                  <c:v>1</c:v>
                </c:pt>
                <c:pt idx="510">
                  <c:v>0.75</c:v>
                </c:pt>
                <c:pt idx="511">
                  <c:v>0.75</c:v>
                </c:pt>
                <c:pt idx="512">
                  <c:v>0.75</c:v>
                </c:pt>
                <c:pt idx="513">
                  <c:v>0.75</c:v>
                </c:pt>
                <c:pt idx="514">
                  <c:v>0.75</c:v>
                </c:pt>
                <c:pt idx="515">
                  <c:v>0.75</c:v>
                </c:pt>
                <c:pt idx="516">
                  <c:v>0.75</c:v>
                </c:pt>
                <c:pt idx="517">
                  <c:v>0.75</c:v>
                </c:pt>
                <c:pt idx="518">
                  <c:v>0.75</c:v>
                </c:pt>
                <c:pt idx="519">
                  <c:v>0.75</c:v>
                </c:pt>
                <c:pt idx="520">
                  <c:v>0.5</c:v>
                </c:pt>
                <c:pt idx="521">
                  <c:v>0.5</c:v>
                </c:pt>
                <c:pt idx="522">
                  <c:v>0.5</c:v>
                </c:pt>
                <c:pt idx="523">
                  <c:v>0.5</c:v>
                </c:pt>
                <c:pt idx="524">
                  <c:v>0.5</c:v>
                </c:pt>
                <c:pt idx="525">
                  <c:v>0.5</c:v>
                </c:pt>
                <c:pt idx="526">
                  <c:v>0.25</c:v>
                </c:pt>
                <c:pt idx="527">
                  <c:v>0.25</c:v>
                </c:pt>
                <c:pt idx="528">
                  <c:v>0.25</c:v>
                </c:pt>
                <c:pt idx="529">
                  <c:v>0.25</c:v>
                </c:pt>
                <c:pt idx="530">
                  <c:v>0.25</c:v>
                </c:pt>
                <c:pt idx="531">
                  <c:v>0.25</c:v>
                </c:pt>
                <c:pt idx="532">
                  <c:v>0.25</c:v>
                </c:pt>
                <c:pt idx="533">
                  <c:v>0.15</c:v>
                </c:pt>
                <c:pt idx="534">
                  <c:v>0.15</c:v>
                </c:pt>
                <c:pt idx="535">
                  <c:v>0.15</c:v>
                </c:pt>
                <c:pt idx="536">
                  <c:v>0.05</c:v>
                </c:pt>
                <c:pt idx="537">
                  <c:v>0.05</c:v>
                </c:pt>
                <c:pt idx="538">
                  <c:v>0.05</c:v>
                </c:pt>
                <c:pt idx="539">
                  <c:v>0.05</c:v>
                </c:pt>
                <c:pt idx="540">
                  <c:v>0.05</c:v>
                </c:pt>
                <c:pt idx="541">
                  <c:v>0.05</c:v>
                </c:pt>
                <c:pt idx="542">
                  <c:v>0.05</c:v>
                </c:pt>
                <c:pt idx="543">
                  <c:v>0.05</c:v>
                </c:pt>
                <c:pt idx="544">
                  <c:v>0.05</c:v>
                </c:pt>
                <c:pt idx="545">
                  <c:v>0.05</c:v>
                </c:pt>
                <c:pt idx="546">
                  <c:v>0.05</c:v>
                </c:pt>
                <c:pt idx="547">
                  <c:v>0.05</c:v>
                </c:pt>
                <c:pt idx="548">
                  <c:v>0.05</c:v>
                </c:pt>
                <c:pt idx="549">
                  <c:v>0.05</c:v>
                </c:pt>
                <c:pt idx="550">
                  <c:v>0.05</c:v>
                </c:pt>
                <c:pt idx="551">
                  <c:v>0.05</c:v>
                </c:pt>
                <c:pt idx="552">
                  <c:v>0.05</c:v>
                </c:pt>
                <c:pt idx="553">
                  <c:v>0.05</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5</c:v>
                </c:pt>
                <c:pt idx="631">
                  <c:v>0.5</c:v>
                </c:pt>
                <c:pt idx="632">
                  <c:v>1.25</c:v>
                </c:pt>
                <c:pt idx="633">
                  <c:v>1.25</c:v>
                </c:pt>
                <c:pt idx="634">
                  <c:v>2</c:v>
                </c:pt>
                <c:pt idx="635">
                  <c:v>2.5</c:v>
                </c:pt>
                <c:pt idx="636">
                  <c:v>#N/A</c:v>
                </c:pt>
                <c:pt idx="637">
                  <c:v>#N/A</c:v>
                </c:pt>
                <c:pt idx="638">
                  <c:v>#N/A</c:v>
                </c:pt>
                <c:pt idx="639">
                  <c:v>#N/A</c:v>
                </c:pt>
                <c:pt idx="640">
                  <c:v>#N/A</c:v>
                </c:pt>
                <c:pt idx="641">
                  <c:v>#N/A</c:v>
                </c:pt>
                <c:pt idx="642">
                  <c:v>#N/A</c:v>
                </c:pt>
                <c:pt idx="643">
                  <c:v>#N/A</c:v>
                </c:pt>
                <c:pt idx="644">
                  <c:v>#N/A</c:v>
                </c:pt>
                <c:pt idx="645">
                  <c:v>#N/A</c:v>
                </c:pt>
                <c:pt idx="646">
                  <c:v>#N/A</c:v>
                </c:pt>
                <c:pt idx="647">
                  <c:v>#N/A</c:v>
                </c:pt>
              </c:numCache>
            </c:numRef>
          </c:val>
          <c:smooth val="0"/>
          <c:extLst>
            <c:ext xmlns:c16="http://schemas.microsoft.com/office/drawing/2014/chart" uri="{C3380CC4-5D6E-409C-BE32-E72D297353CC}">
              <c16:uniqueId val="{00000000-19FB-44E0-93AB-45826F6164BB}"/>
            </c:ext>
          </c:extLst>
        </c:ser>
        <c:ser>
          <c:idx val="1"/>
          <c:order val="1"/>
          <c:tx>
            <c:strRef>
              <c:f>Data!$E$6</c:f>
              <c:strCache>
                <c:ptCount val="1"/>
                <c:pt idx="0">
                  <c:v>US-Leitzins</c:v>
                </c:pt>
              </c:strCache>
            </c:strRef>
          </c:tx>
          <c:spPr>
            <a:ln w="28575" cap="rnd">
              <a:solidFill>
                <a:schemeClr val="accent2"/>
              </a:solidFill>
              <a:round/>
            </a:ln>
            <a:effectLst/>
          </c:spPr>
          <c:marker>
            <c:symbol val="none"/>
          </c:marker>
          <c:cat>
            <c:numRef>
              <c:f>Data!$A$7:$A$1000</c:f>
              <c:numCache>
                <c:formatCode>m/d/yyyy</c:formatCode>
                <c:ptCount val="994"/>
                <c:pt idx="0">
                  <c:v>25594</c:v>
                </c:pt>
                <c:pt idx="1">
                  <c:v>25625</c:v>
                </c:pt>
                <c:pt idx="2">
                  <c:v>25653</c:v>
                </c:pt>
                <c:pt idx="3">
                  <c:v>25684</c:v>
                </c:pt>
                <c:pt idx="4">
                  <c:v>25714</c:v>
                </c:pt>
                <c:pt idx="5">
                  <c:v>25745</c:v>
                </c:pt>
                <c:pt idx="6">
                  <c:v>25775</c:v>
                </c:pt>
                <c:pt idx="7">
                  <c:v>25806</c:v>
                </c:pt>
                <c:pt idx="8">
                  <c:v>25837</c:v>
                </c:pt>
                <c:pt idx="9">
                  <c:v>25867</c:v>
                </c:pt>
                <c:pt idx="10">
                  <c:v>25898</c:v>
                </c:pt>
                <c:pt idx="11">
                  <c:v>25928</c:v>
                </c:pt>
                <c:pt idx="12">
                  <c:v>25959</c:v>
                </c:pt>
                <c:pt idx="13">
                  <c:v>25990</c:v>
                </c:pt>
                <c:pt idx="14">
                  <c:v>26018</c:v>
                </c:pt>
                <c:pt idx="15">
                  <c:v>26049</c:v>
                </c:pt>
                <c:pt idx="16">
                  <c:v>26079</c:v>
                </c:pt>
                <c:pt idx="17">
                  <c:v>26110</c:v>
                </c:pt>
                <c:pt idx="18">
                  <c:v>26140</c:v>
                </c:pt>
                <c:pt idx="19">
                  <c:v>26171</c:v>
                </c:pt>
                <c:pt idx="20">
                  <c:v>26202</c:v>
                </c:pt>
                <c:pt idx="21">
                  <c:v>26232</c:v>
                </c:pt>
                <c:pt idx="22">
                  <c:v>26263</c:v>
                </c:pt>
                <c:pt idx="23">
                  <c:v>26293</c:v>
                </c:pt>
                <c:pt idx="24">
                  <c:v>26324</c:v>
                </c:pt>
                <c:pt idx="25">
                  <c:v>26355</c:v>
                </c:pt>
                <c:pt idx="26">
                  <c:v>26384</c:v>
                </c:pt>
                <c:pt idx="27">
                  <c:v>26415</c:v>
                </c:pt>
                <c:pt idx="28">
                  <c:v>26445</c:v>
                </c:pt>
                <c:pt idx="29">
                  <c:v>26476</c:v>
                </c:pt>
                <c:pt idx="30">
                  <c:v>26506</c:v>
                </c:pt>
                <c:pt idx="31">
                  <c:v>26537</c:v>
                </c:pt>
                <c:pt idx="32">
                  <c:v>26568</c:v>
                </c:pt>
                <c:pt idx="33">
                  <c:v>26598</c:v>
                </c:pt>
                <c:pt idx="34">
                  <c:v>26629</c:v>
                </c:pt>
                <c:pt idx="35">
                  <c:v>26659</c:v>
                </c:pt>
                <c:pt idx="36">
                  <c:v>26690</c:v>
                </c:pt>
                <c:pt idx="37">
                  <c:v>26721</c:v>
                </c:pt>
                <c:pt idx="38">
                  <c:v>26749</c:v>
                </c:pt>
                <c:pt idx="39">
                  <c:v>26780</c:v>
                </c:pt>
                <c:pt idx="40">
                  <c:v>26810</c:v>
                </c:pt>
                <c:pt idx="41">
                  <c:v>26841</c:v>
                </c:pt>
                <c:pt idx="42">
                  <c:v>26871</c:v>
                </c:pt>
                <c:pt idx="43">
                  <c:v>26902</c:v>
                </c:pt>
                <c:pt idx="44">
                  <c:v>26933</c:v>
                </c:pt>
                <c:pt idx="45">
                  <c:v>26963</c:v>
                </c:pt>
                <c:pt idx="46">
                  <c:v>26994</c:v>
                </c:pt>
                <c:pt idx="47">
                  <c:v>27024</c:v>
                </c:pt>
                <c:pt idx="48">
                  <c:v>27055</c:v>
                </c:pt>
                <c:pt idx="49">
                  <c:v>27086</c:v>
                </c:pt>
                <c:pt idx="50">
                  <c:v>27114</c:v>
                </c:pt>
                <c:pt idx="51">
                  <c:v>27145</c:v>
                </c:pt>
                <c:pt idx="52">
                  <c:v>27175</c:v>
                </c:pt>
                <c:pt idx="53">
                  <c:v>27206</c:v>
                </c:pt>
                <c:pt idx="54">
                  <c:v>27236</c:v>
                </c:pt>
                <c:pt idx="55">
                  <c:v>27267</c:v>
                </c:pt>
                <c:pt idx="56">
                  <c:v>27298</c:v>
                </c:pt>
                <c:pt idx="57">
                  <c:v>27328</c:v>
                </c:pt>
                <c:pt idx="58">
                  <c:v>27359</c:v>
                </c:pt>
                <c:pt idx="59">
                  <c:v>27389</c:v>
                </c:pt>
                <c:pt idx="60">
                  <c:v>27420</c:v>
                </c:pt>
                <c:pt idx="61">
                  <c:v>27451</c:v>
                </c:pt>
                <c:pt idx="62">
                  <c:v>27479</c:v>
                </c:pt>
                <c:pt idx="63">
                  <c:v>27510</c:v>
                </c:pt>
                <c:pt idx="64">
                  <c:v>27540</c:v>
                </c:pt>
                <c:pt idx="65">
                  <c:v>27571</c:v>
                </c:pt>
                <c:pt idx="66">
                  <c:v>27601</c:v>
                </c:pt>
                <c:pt idx="67">
                  <c:v>27632</c:v>
                </c:pt>
                <c:pt idx="68">
                  <c:v>27663</c:v>
                </c:pt>
                <c:pt idx="69">
                  <c:v>27693</c:v>
                </c:pt>
                <c:pt idx="70">
                  <c:v>27724</c:v>
                </c:pt>
                <c:pt idx="71">
                  <c:v>27754</c:v>
                </c:pt>
                <c:pt idx="72">
                  <c:v>27785</c:v>
                </c:pt>
                <c:pt idx="73">
                  <c:v>27816</c:v>
                </c:pt>
                <c:pt idx="74">
                  <c:v>27845</c:v>
                </c:pt>
                <c:pt idx="75">
                  <c:v>27876</c:v>
                </c:pt>
                <c:pt idx="76">
                  <c:v>27906</c:v>
                </c:pt>
                <c:pt idx="77">
                  <c:v>27937</c:v>
                </c:pt>
                <c:pt idx="78">
                  <c:v>27967</c:v>
                </c:pt>
                <c:pt idx="79">
                  <c:v>27998</c:v>
                </c:pt>
                <c:pt idx="80">
                  <c:v>28029</c:v>
                </c:pt>
                <c:pt idx="81">
                  <c:v>28059</c:v>
                </c:pt>
                <c:pt idx="82">
                  <c:v>28090</c:v>
                </c:pt>
                <c:pt idx="83">
                  <c:v>28120</c:v>
                </c:pt>
                <c:pt idx="84">
                  <c:v>28151</c:v>
                </c:pt>
                <c:pt idx="85">
                  <c:v>28182</c:v>
                </c:pt>
                <c:pt idx="86">
                  <c:v>28210</c:v>
                </c:pt>
                <c:pt idx="87">
                  <c:v>28241</c:v>
                </c:pt>
                <c:pt idx="88">
                  <c:v>28271</c:v>
                </c:pt>
                <c:pt idx="89">
                  <c:v>28302</c:v>
                </c:pt>
                <c:pt idx="90">
                  <c:v>28332</c:v>
                </c:pt>
                <c:pt idx="91">
                  <c:v>28363</c:v>
                </c:pt>
                <c:pt idx="92">
                  <c:v>28394</c:v>
                </c:pt>
                <c:pt idx="93">
                  <c:v>28424</c:v>
                </c:pt>
                <c:pt idx="94">
                  <c:v>28455</c:v>
                </c:pt>
                <c:pt idx="95">
                  <c:v>28485</c:v>
                </c:pt>
                <c:pt idx="96">
                  <c:v>28516</c:v>
                </c:pt>
                <c:pt idx="97">
                  <c:v>28547</c:v>
                </c:pt>
                <c:pt idx="98">
                  <c:v>28575</c:v>
                </c:pt>
                <c:pt idx="99">
                  <c:v>28606</c:v>
                </c:pt>
                <c:pt idx="100">
                  <c:v>28636</c:v>
                </c:pt>
                <c:pt idx="101">
                  <c:v>28667</c:v>
                </c:pt>
                <c:pt idx="102">
                  <c:v>28697</c:v>
                </c:pt>
                <c:pt idx="103">
                  <c:v>28728</c:v>
                </c:pt>
                <c:pt idx="104">
                  <c:v>28759</c:v>
                </c:pt>
                <c:pt idx="105">
                  <c:v>28789</c:v>
                </c:pt>
                <c:pt idx="106">
                  <c:v>28820</c:v>
                </c:pt>
                <c:pt idx="107">
                  <c:v>28850</c:v>
                </c:pt>
                <c:pt idx="108">
                  <c:v>28881</c:v>
                </c:pt>
                <c:pt idx="109">
                  <c:v>28912</c:v>
                </c:pt>
                <c:pt idx="110">
                  <c:v>28940</c:v>
                </c:pt>
                <c:pt idx="111">
                  <c:v>28971</c:v>
                </c:pt>
                <c:pt idx="112">
                  <c:v>29001</c:v>
                </c:pt>
                <c:pt idx="113">
                  <c:v>29032</c:v>
                </c:pt>
                <c:pt idx="114">
                  <c:v>29062</c:v>
                </c:pt>
                <c:pt idx="115">
                  <c:v>29093</c:v>
                </c:pt>
                <c:pt idx="116">
                  <c:v>29124</c:v>
                </c:pt>
                <c:pt idx="117">
                  <c:v>29154</c:v>
                </c:pt>
                <c:pt idx="118">
                  <c:v>29185</c:v>
                </c:pt>
                <c:pt idx="119">
                  <c:v>29215</c:v>
                </c:pt>
                <c:pt idx="120">
                  <c:v>29246</c:v>
                </c:pt>
                <c:pt idx="121">
                  <c:v>29277</c:v>
                </c:pt>
                <c:pt idx="122">
                  <c:v>29306</c:v>
                </c:pt>
                <c:pt idx="123">
                  <c:v>29337</c:v>
                </c:pt>
                <c:pt idx="124">
                  <c:v>29367</c:v>
                </c:pt>
                <c:pt idx="125">
                  <c:v>29398</c:v>
                </c:pt>
                <c:pt idx="126">
                  <c:v>29428</c:v>
                </c:pt>
                <c:pt idx="127">
                  <c:v>29459</c:v>
                </c:pt>
                <c:pt idx="128">
                  <c:v>29490</c:v>
                </c:pt>
                <c:pt idx="129">
                  <c:v>29520</c:v>
                </c:pt>
                <c:pt idx="130">
                  <c:v>29551</c:v>
                </c:pt>
                <c:pt idx="131">
                  <c:v>29581</c:v>
                </c:pt>
                <c:pt idx="132">
                  <c:v>29612</c:v>
                </c:pt>
                <c:pt idx="133">
                  <c:v>29643</c:v>
                </c:pt>
                <c:pt idx="134">
                  <c:v>29671</c:v>
                </c:pt>
                <c:pt idx="135">
                  <c:v>29702</c:v>
                </c:pt>
                <c:pt idx="136">
                  <c:v>29732</c:v>
                </c:pt>
                <c:pt idx="137">
                  <c:v>29763</c:v>
                </c:pt>
                <c:pt idx="138">
                  <c:v>29793</c:v>
                </c:pt>
                <c:pt idx="139">
                  <c:v>29824</c:v>
                </c:pt>
                <c:pt idx="140">
                  <c:v>29855</c:v>
                </c:pt>
                <c:pt idx="141">
                  <c:v>29885</c:v>
                </c:pt>
                <c:pt idx="142">
                  <c:v>29916</c:v>
                </c:pt>
                <c:pt idx="143">
                  <c:v>29946</c:v>
                </c:pt>
                <c:pt idx="144">
                  <c:v>29977</c:v>
                </c:pt>
                <c:pt idx="145">
                  <c:v>30008</c:v>
                </c:pt>
                <c:pt idx="146">
                  <c:v>30036</c:v>
                </c:pt>
                <c:pt idx="147">
                  <c:v>30067</c:v>
                </c:pt>
                <c:pt idx="148">
                  <c:v>30097</c:v>
                </c:pt>
                <c:pt idx="149">
                  <c:v>30128</c:v>
                </c:pt>
                <c:pt idx="150">
                  <c:v>30158</c:v>
                </c:pt>
                <c:pt idx="151">
                  <c:v>30189</c:v>
                </c:pt>
                <c:pt idx="152">
                  <c:v>30220</c:v>
                </c:pt>
                <c:pt idx="153">
                  <c:v>30250</c:v>
                </c:pt>
                <c:pt idx="154">
                  <c:v>30281</c:v>
                </c:pt>
                <c:pt idx="155">
                  <c:v>30311</c:v>
                </c:pt>
                <c:pt idx="156">
                  <c:v>30342</c:v>
                </c:pt>
                <c:pt idx="157">
                  <c:v>30373</c:v>
                </c:pt>
                <c:pt idx="158">
                  <c:v>30401</c:v>
                </c:pt>
                <c:pt idx="159">
                  <c:v>30432</c:v>
                </c:pt>
                <c:pt idx="160">
                  <c:v>30462</c:v>
                </c:pt>
                <c:pt idx="161">
                  <c:v>30493</c:v>
                </c:pt>
                <c:pt idx="162">
                  <c:v>30523</c:v>
                </c:pt>
                <c:pt idx="163">
                  <c:v>30554</c:v>
                </c:pt>
                <c:pt idx="164">
                  <c:v>30585</c:v>
                </c:pt>
                <c:pt idx="165">
                  <c:v>30615</c:v>
                </c:pt>
                <c:pt idx="166">
                  <c:v>30646</c:v>
                </c:pt>
                <c:pt idx="167">
                  <c:v>30676</c:v>
                </c:pt>
                <c:pt idx="168">
                  <c:v>30707</c:v>
                </c:pt>
                <c:pt idx="169">
                  <c:v>30738</c:v>
                </c:pt>
                <c:pt idx="170">
                  <c:v>30767</c:v>
                </c:pt>
                <c:pt idx="171">
                  <c:v>30798</c:v>
                </c:pt>
                <c:pt idx="172">
                  <c:v>30828</c:v>
                </c:pt>
                <c:pt idx="173">
                  <c:v>30859</c:v>
                </c:pt>
                <c:pt idx="174">
                  <c:v>30889</c:v>
                </c:pt>
                <c:pt idx="175">
                  <c:v>30920</c:v>
                </c:pt>
                <c:pt idx="176">
                  <c:v>30951</c:v>
                </c:pt>
                <c:pt idx="177">
                  <c:v>30981</c:v>
                </c:pt>
                <c:pt idx="178">
                  <c:v>31012</c:v>
                </c:pt>
                <c:pt idx="179">
                  <c:v>31042</c:v>
                </c:pt>
                <c:pt idx="180">
                  <c:v>31073</c:v>
                </c:pt>
                <c:pt idx="181">
                  <c:v>31104</c:v>
                </c:pt>
                <c:pt idx="182">
                  <c:v>31132</c:v>
                </c:pt>
                <c:pt idx="183">
                  <c:v>31163</c:v>
                </c:pt>
                <c:pt idx="184">
                  <c:v>31193</c:v>
                </c:pt>
                <c:pt idx="185">
                  <c:v>31224</c:v>
                </c:pt>
                <c:pt idx="186">
                  <c:v>31254</c:v>
                </c:pt>
                <c:pt idx="187">
                  <c:v>31285</c:v>
                </c:pt>
                <c:pt idx="188">
                  <c:v>31316</c:v>
                </c:pt>
                <c:pt idx="189">
                  <c:v>31346</c:v>
                </c:pt>
                <c:pt idx="190">
                  <c:v>31377</c:v>
                </c:pt>
                <c:pt idx="191">
                  <c:v>31407</c:v>
                </c:pt>
                <c:pt idx="192">
                  <c:v>31438</c:v>
                </c:pt>
                <c:pt idx="193">
                  <c:v>31469</c:v>
                </c:pt>
                <c:pt idx="194">
                  <c:v>31497</c:v>
                </c:pt>
                <c:pt idx="195">
                  <c:v>31528</c:v>
                </c:pt>
                <c:pt idx="196">
                  <c:v>31558</c:v>
                </c:pt>
                <c:pt idx="197">
                  <c:v>31589</c:v>
                </c:pt>
                <c:pt idx="198">
                  <c:v>31619</c:v>
                </c:pt>
                <c:pt idx="199">
                  <c:v>31650</c:v>
                </c:pt>
                <c:pt idx="200">
                  <c:v>31681</c:v>
                </c:pt>
                <c:pt idx="201">
                  <c:v>31711</c:v>
                </c:pt>
                <c:pt idx="202">
                  <c:v>31742</c:v>
                </c:pt>
                <c:pt idx="203">
                  <c:v>31772</c:v>
                </c:pt>
                <c:pt idx="204">
                  <c:v>31803</c:v>
                </c:pt>
                <c:pt idx="205">
                  <c:v>31834</c:v>
                </c:pt>
                <c:pt idx="206">
                  <c:v>31862</c:v>
                </c:pt>
                <c:pt idx="207">
                  <c:v>31893</c:v>
                </c:pt>
                <c:pt idx="208">
                  <c:v>31923</c:v>
                </c:pt>
                <c:pt idx="209">
                  <c:v>31954</c:v>
                </c:pt>
                <c:pt idx="210">
                  <c:v>31984</c:v>
                </c:pt>
                <c:pt idx="211">
                  <c:v>32015</c:v>
                </c:pt>
                <c:pt idx="212">
                  <c:v>32046</c:v>
                </c:pt>
                <c:pt idx="213">
                  <c:v>32076</c:v>
                </c:pt>
                <c:pt idx="214">
                  <c:v>32107</c:v>
                </c:pt>
                <c:pt idx="215">
                  <c:v>32137</c:v>
                </c:pt>
                <c:pt idx="216">
                  <c:v>32168</c:v>
                </c:pt>
                <c:pt idx="217">
                  <c:v>32199</c:v>
                </c:pt>
                <c:pt idx="218">
                  <c:v>32228</c:v>
                </c:pt>
                <c:pt idx="219">
                  <c:v>32259</c:v>
                </c:pt>
                <c:pt idx="220">
                  <c:v>32289</c:v>
                </c:pt>
                <c:pt idx="221">
                  <c:v>32320</c:v>
                </c:pt>
                <c:pt idx="222">
                  <c:v>32350</c:v>
                </c:pt>
                <c:pt idx="223">
                  <c:v>32381</c:v>
                </c:pt>
                <c:pt idx="224">
                  <c:v>32412</c:v>
                </c:pt>
                <c:pt idx="225">
                  <c:v>32442</c:v>
                </c:pt>
                <c:pt idx="226">
                  <c:v>32473</c:v>
                </c:pt>
                <c:pt idx="227">
                  <c:v>32503</c:v>
                </c:pt>
                <c:pt idx="228">
                  <c:v>32534</c:v>
                </c:pt>
                <c:pt idx="229">
                  <c:v>32565</c:v>
                </c:pt>
                <c:pt idx="230">
                  <c:v>32593</c:v>
                </c:pt>
                <c:pt idx="231">
                  <c:v>32624</c:v>
                </c:pt>
                <c:pt idx="232">
                  <c:v>32654</c:v>
                </c:pt>
                <c:pt idx="233">
                  <c:v>32685</c:v>
                </c:pt>
                <c:pt idx="234">
                  <c:v>32715</c:v>
                </c:pt>
                <c:pt idx="235">
                  <c:v>32746</c:v>
                </c:pt>
                <c:pt idx="236">
                  <c:v>32777</c:v>
                </c:pt>
                <c:pt idx="237">
                  <c:v>32807</c:v>
                </c:pt>
                <c:pt idx="238">
                  <c:v>32838</c:v>
                </c:pt>
                <c:pt idx="239">
                  <c:v>32868</c:v>
                </c:pt>
                <c:pt idx="240">
                  <c:v>32899</c:v>
                </c:pt>
                <c:pt idx="241">
                  <c:v>32930</c:v>
                </c:pt>
                <c:pt idx="242">
                  <c:v>32958</c:v>
                </c:pt>
                <c:pt idx="243">
                  <c:v>32989</c:v>
                </c:pt>
                <c:pt idx="244">
                  <c:v>33019</c:v>
                </c:pt>
                <c:pt idx="245">
                  <c:v>33050</c:v>
                </c:pt>
                <c:pt idx="246">
                  <c:v>33080</c:v>
                </c:pt>
                <c:pt idx="247">
                  <c:v>33111</c:v>
                </c:pt>
                <c:pt idx="248">
                  <c:v>33142</c:v>
                </c:pt>
                <c:pt idx="249">
                  <c:v>33172</c:v>
                </c:pt>
                <c:pt idx="250">
                  <c:v>33203</c:v>
                </c:pt>
                <c:pt idx="251">
                  <c:v>33233</c:v>
                </c:pt>
                <c:pt idx="252">
                  <c:v>33264</c:v>
                </c:pt>
                <c:pt idx="253">
                  <c:v>33295</c:v>
                </c:pt>
                <c:pt idx="254">
                  <c:v>33323</c:v>
                </c:pt>
                <c:pt idx="255">
                  <c:v>33354</c:v>
                </c:pt>
                <c:pt idx="256">
                  <c:v>33384</c:v>
                </c:pt>
                <c:pt idx="257">
                  <c:v>33415</c:v>
                </c:pt>
                <c:pt idx="258">
                  <c:v>33445</c:v>
                </c:pt>
                <c:pt idx="259">
                  <c:v>33476</c:v>
                </c:pt>
                <c:pt idx="260">
                  <c:v>33507</c:v>
                </c:pt>
                <c:pt idx="261">
                  <c:v>33537</c:v>
                </c:pt>
                <c:pt idx="262">
                  <c:v>33568</c:v>
                </c:pt>
                <c:pt idx="263">
                  <c:v>33598</c:v>
                </c:pt>
                <c:pt idx="264">
                  <c:v>33629</c:v>
                </c:pt>
                <c:pt idx="265">
                  <c:v>33660</c:v>
                </c:pt>
                <c:pt idx="266">
                  <c:v>33689</c:v>
                </c:pt>
                <c:pt idx="267">
                  <c:v>33720</c:v>
                </c:pt>
                <c:pt idx="268">
                  <c:v>33750</c:v>
                </c:pt>
                <c:pt idx="269">
                  <c:v>33781</c:v>
                </c:pt>
                <c:pt idx="270">
                  <c:v>33811</c:v>
                </c:pt>
                <c:pt idx="271">
                  <c:v>33842</c:v>
                </c:pt>
                <c:pt idx="272">
                  <c:v>33873</c:v>
                </c:pt>
                <c:pt idx="273">
                  <c:v>33903</c:v>
                </c:pt>
                <c:pt idx="274">
                  <c:v>33934</c:v>
                </c:pt>
                <c:pt idx="275">
                  <c:v>33964</c:v>
                </c:pt>
                <c:pt idx="276">
                  <c:v>33995</c:v>
                </c:pt>
                <c:pt idx="277">
                  <c:v>34026</c:v>
                </c:pt>
                <c:pt idx="278">
                  <c:v>34054</c:v>
                </c:pt>
                <c:pt idx="279">
                  <c:v>34085</c:v>
                </c:pt>
                <c:pt idx="280">
                  <c:v>34115</c:v>
                </c:pt>
                <c:pt idx="281">
                  <c:v>34146</c:v>
                </c:pt>
                <c:pt idx="282">
                  <c:v>34176</c:v>
                </c:pt>
                <c:pt idx="283">
                  <c:v>34207</c:v>
                </c:pt>
                <c:pt idx="284">
                  <c:v>34238</c:v>
                </c:pt>
                <c:pt idx="285">
                  <c:v>34268</c:v>
                </c:pt>
                <c:pt idx="286">
                  <c:v>34299</c:v>
                </c:pt>
                <c:pt idx="287">
                  <c:v>34329</c:v>
                </c:pt>
                <c:pt idx="288">
                  <c:v>34360</c:v>
                </c:pt>
                <c:pt idx="289">
                  <c:v>34391</c:v>
                </c:pt>
                <c:pt idx="290">
                  <c:v>34419</c:v>
                </c:pt>
                <c:pt idx="291">
                  <c:v>34450</c:v>
                </c:pt>
                <c:pt idx="292">
                  <c:v>34480</c:v>
                </c:pt>
                <c:pt idx="293">
                  <c:v>34511</c:v>
                </c:pt>
                <c:pt idx="294">
                  <c:v>34541</c:v>
                </c:pt>
                <c:pt idx="295">
                  <c:v>34572</c:v>
                </c:pt>
                <c:pt idx="296">
                  <c:v>34603</c:v>
                </c:pt>
                <c:pt idx="297">
                  <c:v>34633</c:v>
                </c:pt>
                <c:pt idx="298">
                  <c:v>34664</c:v>
                </c:pt>
                <c:pt idx="299">
                  <c:v>34694</c:v>
                </c:pt>
                <c:pt idx="300">
                  <c:v>34725</c:v>
                </c:pt>
                <c:pt idx="301">
                  <c:v>34756</c:v>
                </c:pt>
                <c:pt idx="302">
                  <c:v>34784</c:v>
                </c:pt>
                <c:pt idx="303">
                  <c:v>34815</c:v>
                </c:pt>
                <c:pt idx="304">
                  <c:v>34845</c:v>
                </c:pt>
                <c:pt idx="305">
                  <c:v>34876</c:v>
                </c:pt>
                <c:pt idx="306">
                  <c:v>34906</c:v>
                </c:pt>
                <c:pt idx="307">
                  <c:v>34937</c:v>
                </c:pt>
                <c:pt idx="308">
                  <c:v>34968</c:v>
                </c:pt>
                <c:pt idx="309">
                  <c:v>34998</c:v>
                </c:pt>
                <c:pt idx="310">
                  <c:v>35029</c:v>
                </c:pt>
                <c:pt idx="311">
                  <c:v>35059</c:v>
                </c:pt>
                <c:pt idx="312">
                  <c:v>35090</c:v>
                </c:pt>
                <c:pt idx="313">
                  <c:v>35121</c:v>
                </c:pt>
                <c:pt idx="314">
                  <c:v>35150</c:v>
                </c:pt>
                <c:pt idx="315">
                  <c:v>35181</c:v>
                </c:pt>
                <c:pt idx="316">
                  <c:v>35211</c:v>
                </c:pt>
                <c:pt idx="317">
                  <c:v>35242</c:v>
                </c:pt>
                <c:pt idx="318">
                  <c:v>35272</c:v>
                </c:pt>
                <c:pt idx="319">
                  <c:v>35303</c:v>
                </c:pt>
                <c:pt idx="320">
                  <c:v>35334</c:v>
                </c:pt>
                <c:pt idx="321">
                  <c:v>35364</c:v>
                </c:pt>
                <c:pt idx="322">
                  <c:v>35395</c:v>
                </c:pt>
                <c:pt idx="323">
                  <c:v>35425</c:v>
                </c:pt>
                <c:pt idx="324">
                  <c:v>35456</c:v>
                </c:pt>
                <c:pt idx="325">
                  <c:v>35487</c:v>
                </c:pt>
                <c:pt idx="326">
                  <c:v>35515</c:v>
                </c:pt>
                <c:pt idx="327">
                  <c:v>35546</c:v>
                </c:pt>
                <c:pt idx="328">
                  <c:v>35576</c:v>
                </c:pt>
                <c:pt idx="329">
                  <c:v>35607</c:v>
                </c:pt>
                <c:pt idx="330">
                  <c:v>35637</c:v>
                </c:pt>
                <c:pt idx="331">
                  <c:v>35668</c:v>
                </c:pt>
                <c:pt idx="332">
                  <c:v>35699</c:v>
                </c:pt>
                <c:pt idx="333">
                  <c:v>35729</c:v>
                </c:pt>
                <c:pt idx="334">
                  <c:v>35760</c:v>
                </c:pt>
                <c:pt idx="335">
                  <c:v>35790</c:v>
                </c:pt>
                <c:pt idx="336">
                  <c:v>35821</c:v>
                </c:pt>
                <c:pt idx="337">
                  <c:v>35852</c:v>
                </c:pt>
                <c:pt idx="338">
                  <c:v>35880</c:v>
                </c:pt>
                <c:pt idx="339">
                  <c:v>35911</c:v>
                </c:pt>
                <c:pt idx="340">
                  <c:v>35941</c:v>
                </c:pt>
                <c:pt idx="341">
                  <c:v>35972</c:v>
                </c:pt>
                <c:pt idx="342">
                  <c:v>36002</c:v>
                </c:pt>
                <c:pt idx="343">
                  <c:v>36033</c:v>
                </c:pt>
                <c:pt idx="344">
                  <c:v>36064</c:v>
                </c:pt>
                <c:pt idx="345">
                  <c:v>36094</c:v>
                </c:pt>
                <c:pt idx="346">
                  <c:v>36125</c:v>
                </c:pt>
                <c:pt idx="347">
                  <c:v>36155</c:v>
                </c:pt>
                <c:pt idx="348">
                  <c:v>36186</c:v>
                </c:pt>
                <c:pt idx="349">
                  <c:v>36217</c:v>
                </c:pt>
                <c:pt idx="350">
                  <c:v>36245</c:v>
                </c:pt>
                <c:pt idx="351">
                  <c:v>36276</c:v>
                </c:pt>
                <c:pt idx="352">
                  <c:v>36306</c:v>
                </c:pt>
                <c:pt idx="353">
                  <c:v>36337</c:v>
                </c:pt>
                <c:pt idx="354">
                  <c:v>36367</c:v>
                </c:pt>
                <c:pt idx="355">
                  <c:v>36398</c:v>
                </c:pt>
                <c:pt idx="356">
                  <c:v>36429</c:v>
                </c:pt>
                <c:pt idx="357">
                  <c:v>36459</c:v>
                </c:pt>
                <c:pt idx="358">
                  <c:v>36490</c:v>
                </c:pt>
                <c:pt idx="359">
                  <c:v>36520</c:v>
                </c:pt>
                <c:pt idx="360">
                  <c:v>36551</c:v>
                </c:pt>
                <c:pt idx="361">
                  <c:v>36582</c:v>
                </c:pt>
                <c:pt idx="362">
                  <c:v>36611</c:v>
                </c:pt>
                <c:pt idx="363">
                  <c:v>36642</c:v>
                </c:pt>
                <c:pt idx="364">
                  <c:v>36672</c:v>
                </c:pt>
                <c:pt idx="365">
                  <c:v>36703</c:v>
                </c:pt>
                <c:pt idx="366">
                  <c:v>36733</c:v>
                </c:pt>
                <c:pt idx="367">
                  <c:v>36764</c:v>
                </c:pt>
                <c:pt idx="368">
                  <c:v>36795</c:v>
                </c:pt>
                <c:pt idx="369">
                  <c:v>36825</c:v>
                </c:pt>
                <c:pt idx="370">
                  <c:v>36856</c:v>
                </c:pt>
                <c:pt idx="371">
                  <c:v>36886</c:v>
                </c:pt>
                <c:pt idx="372">
                  <c:v>36917</c:v>
                </c:pt>
                <c:pt idx="373">
                  <c:v>36948</c:v>
                </c:pt>
                <c:pt idx="374">
                  <c:v>36976</c:v>
                </c:pt>
                <c:pt idx="375">
                  <c:v>37007</c:v>
                </c:pt>
                <c:pt idx="376">
                  <c:v>37037</c:v>
                </c:pt>
                <c:pt idx="377">
                  <c:v>37068</c:v>
                </c:pt>
                <c:pt idx="378">
                  <c:v>37098</c:v>
                </c:pt>
                <c:pt idx="379">
                  <c:v>37129</c:v>
                </c:pt>
                <c:pt idx="380">
                  <c:v>37160</c:v>
                </c:pt>
                <c:pt idx="381">
                  <c:v>37190</c:v>
                </c:pt>
                <c:pt idx="382">
                  <c:v>37221</c:v>
                </c:pt>
                <c:pt idx="383">
                  <c:v>37251</c:v>
                </c:pt>
                <c:pt idx="384">
                  <c:v>37282</c:v>
                </c:pt>
                <c:pt idx="385">
                  <c:v>37313</c:v>
                </c:pt>
                <c:pt idx="386">
                  <c:v>37341</c:v>
                </c:pt>
                <c:pt idx="387">
                  <c:v>37372</c:v>
                </c:pt>
                <c:pt idx="388">
                  <c:v>37402</c:v>
                </c:pt>
                <c:pt idx="389">
                  <c:v>37433</c:v>
                </c:pt>
                <c:pt idx="390">
                  <c:v>37463</c:v>
                </c:pt>
                <c:pt idx="391">
                  <c:v>37494</c:v>
                </c:pt>
                <c:pt idx="392">
                  <c:v>37525</c:v>
                </c:pt>
                <c:pt idx="393">
                  <c:v>37555</c:v>
                </c:pt>
                <c:pt idx="394">
                  <c:v>37586</c:v>
                </c:pt>
                <c:pt idx="395">
                  <c:v>37616</c:v>
                </c:pt>
                <c:pt idx="396">
                  <c:v>37647</c:v>
                </c:pt>
                <c:pt idx="397">
                  <c:v>37678</c:v>
                </c:pt>
                <c:pt idx="398">
                  <c:v>37706</c:v>
                </c:pt>
                <c:pt idx="399">
                  <c:v>37737</c:v>
                </c:pt>
                <c:pt idx="400">
                  <c:v>37767</c:v>
                </c:pt>
                <c:pt idx="401">
                  <c:v>37798</c:v>
                </c:pt>
                <c:pt idx="402">
                  <c:v>37828</c:v>
                </c:pt>
                <c:pt idx="403">
                  <c:v>37859</c:v>
                </c:pt>
                <c:pt idx="404">
                  <c:v>37890</c:v>
                </c:pt>
                <c:pt idx="405">
                  <c:v>37920</c:v>
                </c:pt>
                <c:pt idx="406">
                  <c:v>37951</c:v>
                </c:pt>
                <c:pt idx="407">
                  <c:v>37981</c:v>
                </c:pt>
                <c:pt idx="408">
                  <c:v>38012</c:v>
                </c:pt>
                <c:pt idx="409">
                  <c:v>38043</c:v>
                </c:pt>
                <c:pt idx="410">
                  <c:v>38072</c:v>
                </c:pt>
                <c:pt idx="411">
                  <c:v>38103</c:v>
                </c:pt>
                <c:pt idx="412">
                  <c:v>38133</c:v>
                </c:pt>
                <c:pt idx="413">
                  <c:v>38164</c:v>
                </c:pt>
                <c:pt idx="414">
                  <c:v>38194</c:v>
                </c:pt>
                <c:pt idx="415">
                  <c:v>38225</c:v>
                </c:pt>
                <c:pt idx="416">
                  <c:v>38256</c:v>
                </c:pt>
                <c:pt idx="417">
                  <c:v>38286</c:v>
                </c:pt>
                <c:pt idx="418">
                  <c:v>38317</c:v>
                </c:pt>
                <c:pt idx="419">
                  <c:v>38347</c:v>
                </c:pt>
                <c:pt idx="420">
                  <c:v>38378</c:v>
                </c:pt>
                <c:pt idx="421">
                  <c:v>38409</c:v>
                </c:pt>
                <c:pt idx="422">
                  <c:v>38437</c:v>
                </c:pt>
                <c:pt idx="423">
                  <c:v>38468</c:v>
                </c:pt>
                <c:pt idx="424">
                  <c:v>38498</c:v>
                </c:pt>
                <c:pt idx="425">
                  <c:v>38529</c:v>
                </c:pt>
                <c:pt idx="426">
                  <c:v>38559</c:v>
                </c:pt>
                <c:pt idx="427">
                  <c:v>38590</c:v>
                </c:pt>
                <c:pt idx="428">
                  <c:v>38621</c:v>
                </c:pt>
                <c:pt idx="429">
                  <c:v>38651</c:v>
                </c:pt>
                <c:pt idx="430">
                  <c:v>38682</c:v>
                </c:pt>
                <c:pt idx="431">
                  <c:v>38712</c:v>
                </c:pt>
                <c:pt idx="432">
                  <c:v>38743</c:v>
                </c:pt>
                <c:pt idx="433">
                  <c:v>38774</c:v>
                </c:pt>
                <c:pt idx="434">
                  <c:v>38802</c:v>
                </c:pt>
                <c:pt idx="435">
                  <c:v>38833</c:v>
                </c:pt>
                <c:pt idx="436">
                  <c:v>38863</c:v>
                </c:pt>
                <c:pt idx="437">
                  <c:v>38894</c:v>
                </c:pt>
                <c:pt idx="438">
                  <c:v>38924</c:v>
                </c:pt>
                <c:pt idx="439">
                  <c:v>38955</c:v>
                </c:pt>
                <c:pt idx="440">
                  <c:v>38986</c:v>
                </c:pt>
                <c:pt idx="441">
                  <c:v>39016</c:v>
                </c:pt>
                <c:pt idx="442">
                  <c:v>39047</c:v>
                </c:pt>
                <c:pt idx="443">
                  <c:v>39077</c:v>
                </c:pt>
                <c:pt idx="444">
                  <c:v>39108</c:v>
                </c:pt>
                <c:pt idx="445">
                  <c:v>39139</c:v>
                </c:pt>
                <c:pt idx="446">
                  <c:v>39167</c:v>
                </c:pt>
                <c:pt idx="447">
                  <c:v>39198</c:v>
                </c:pt>
                <c:pt idx="448">
                  <c:v>39228</c:v>
                </c:pt>
                <c:pt idx="449">
                  <c:v>39259</c:v>
                </c:pt>
                <c:pt idx="450">
                  <c:v>39289</c:v>
                </c:pt>
                <c:pt idx="451">
                  <c:v>39320</c:v>
                </c:pt>
                <c:pt idx="452">
                  <c:v>39351</c:v>
                </c:pt>
                <c:pt idx="453">
                  <c:v>39381</c:v>
                </c:pt>
                <c:pt idx="454">
                  <c:v>39412</c:v>
                </c:pt>
                <c:pt idx="455">
                  <c:v>39442</c:v>
                </c:pt>
                <c:pt idx="456">
                  <c:v>39473</c:v>
                </c:pt>
                <c:pt idx="457">
                  <c:v>39504</c:v>
                </c:pt>
                <c:pt idx="458">
                  <c:v>39533</c:v>
                </c:pt>
                <c:pt idx="459">
                  <c:v>39564</c:v>
                </c:pt>
                <c:pt idx="460">
                  <c:v>39594</c:v>
                </c:pt>
                <c:pt idx="461">
                  <c:v>39625</c:v>
                </c:pt>
                <c:pt idx="462">
                  <c:v>39655</c:v>
                </c:pt>
                <c:pt idx="463">
                  <c:v>39686</c:v>
                </c:pt>
                <c:pt idx="464">
                  <c:v>39717</c:v>
                </c:pt>
                <c:pt idx="465">
                  <c:v>39747</c:v>
                </c:pt>
                <c:pt idx="466">
                  <c:v>39778</c:v>
                </c:pt>
                <c:pt idx="467">
                  <c:v>39808</c:v>
                </c:pt>
                <c:pt idx="468">
                  <c:v>39839</c:v>
                </c:pt>
                <c:pt idx="469">
                  <c:v>39870</c:v>
                </c:pt>
                <c:pt idx="470">
                  <c:v>39898</c:v>
                </c:pt>
                <c:pt idx="471">
                  <c:v>39929</c:v>
                </c:pt>
                <c:pt idx="472">
                  <c:v>39959</c:v>
                </c:pt>
                <c:pt idx="473">
                  <c:v>39990</c:v>
                </c:pt>
                <c:pt idx="474">
                  <c:v>40020</c:v>
                </c:pt>
                <c:pt idx="475">
                  <c:v>40051</c:v>
                </c:pt>
                <c:pt idx="476">
                  <c:v>40082</c:v>
                </c:pt>
                <c:pt idx="477">
                  <c:v>40112</c:v>
                </c:pt>
                <c:pt idx="478">
                  <c:v>40143</c:v>
                </c:pt>
                <c:pt idx="479">
                  <c:v>40173</c:v>
                </c:pt>
                <c:pt idx="480">
                  <c:v>40204</c:v>
                </c:pt>
                <c:pt idx="481">
                  <c:v>40235</c:v>
                </c:pt>
                <c:pt idx="482">
                  <c:v>40263</c:v>
                </c:pt>
                <c:pt idx="483">
                  <c:v>40294</c:v>
                </c:pt>
                <c:pt idx="484">
                  <c:v>40324</c:v>
                </c:pt>
                <c:pt idx="485">
                  <c:v>40355</c:v>
                </c:pt>
                <c:pt idx="486">
                  <c:v>40385</c:v>
                </c:pt>
                <c:pt idx="487">
                  <c:v>40416</c:v>
                </c:pt>
                <c:pt idx="488">
                  <c:v>40447</c:v>
                </c:pt>
                <c:pt idx="489">
                  <c:v>40477</c:v>
                </c:pt>
                <c:pt idx="490">
                  <c:v>40508</c:v>
                </c:pt>
                <c:pt idx="491">
                  <c:v>40538</c:v>
                </c:pt>
                <c:pt idx="492">
                  <c:v>40569</c:v>
                </c:pt>
                <c:pt idx="493">
                  <c:v>40600</c:v>
                </c:pt>
                <c:pt idx="494">
                  <c:v>40628</c:v>
                </c:pt>
                <c:pt idx="495">
                  <c:v>40659</c:v>
                </c:pt>
                <c:pt idx="496">
                  <c:v>40689</c:v>
                </c:pt>
                <c:pt idx="497">
                  <c:v>40720</c:v>
                </c:pt>
                <c:pt idx="498">
                  <c:v>40750</c:v>
                </c:pt>
                <c:pt idx="499">
                  <c:v>40781</c:v>
                </c:pt>
                <c:pt idx="500">
                  <c:v>40812</c:v>
                </c:pt>
                <c:pt idx="501">
                  <c:v>40842</c:v>
                </c:pt>
                <c:pt idx="502">
                  <c:v>40873</c:v>
                </c:pt>
                <c:pt idx="503">
                  <c:v>40903</c:v>
                </c:pt>
                <c:pt idx="504">
                  <c:v>40934</c:v>
                </c:pt>
                <c:pt idx="505">
                  <c:v>40965</c:v>
                </c:pt>
                <c:pt idx="506">
                  <c:v>40994</c:v>
                </c:pt>
                <c:pt idx="507">
                  <c:v>41025</c:v>
                </c:pt>
                <c:pt idx="508">
                  <c:v>41055</c:v>
                </c:pt>
                <c:pt idx="509">
                  <c:v>41086</c:v>
                </c:pt>
                <c:pt idx="510">
                  <c:v>41116</c:v>
                </c:pt>
                <c:pt idx="511">
                  <c:v>41147</c:v>
                </c:pt>
                <c:pt idx="512">
                  <c:v>41178</c:v>
                </c:pt>
                <c:pt idx="513">
                  <c:v>41208</c:v>
                </c:pt>
                <c:pt idx="514">
                  <c:v>41239</c:v>
                </c:pt>
                <c:pt idx="515">
                  <c:v>41269</c:v>
                </c:pt>
                <c:pt idx="516">
                  <c:v>41300</c:v>
                </c:pt>
                <c:pt idx="517">
                  <c:v>41331</c:v>
                </c:pt>
                <c:pt idx="518">
                  <c:v>41359</c:v>
                </c:pt>
                <c:pt idx="519">
                  <c:v>41390</c:v>
                </c:pt>
                <c:pt idx="520">
                  <c:v>41420</c:v>
                </c:pt>
                <c:pt idx="521">
                  <c:v>41451</c:v>
                </c:pt>
                <c:pt idx="522">
                  <c:v>41481</c:v>
                </c:pt>
                <c:pt idx="523">
                  <c:v>41512</c:v>
                </c:pt>
                <c:pt idx="524">
                  <c:v>41543</c:v>
                </c:pt>
                <c:pt idx="525">
                  <c:v>41573</c:v>
                </c:pt>
                <c:pt idx="526">
                  <c:v>41604</c:v>
                </c:pt>
                <c:pt idx="527">
                  <c:v>41634</c:v>
                </c:pt>
                <c:pt idx="528">
                  <c:v>41665</c:v>
                </c:pt>
                <c:pt idx="529">
                  <c:v>41696</c:v>
                </c:pt>
                <c:pt idx="530">
                  <c:v>41724</c:v>
                </c:pt>
                <c:pt idx="531">
                  <c:v>41755</c:v>
                </c:pt>
                <c:pt idx="532">
                  <c:v>41785</c:v>
                </c:pt>
                <c:pt idx="533">
                  <c:v>41816</c:v>
                </c:pt>
                <c:pt idx="534">
                  <c:v>41846</c:v>
                </c:pt>
                <c:pt idx="535">
                  <c:v>41877</c:v>
                </c:pt>
                <c:pt idx="536">
                  <c:v>41908</c:v>
                </c:pt>
                <c:pt idx="537">
                  <c:v>41938</c:v>
                </c:pt>
                <c:pt idx="538">
                  <c:v>41969</c:v>
                </c:pt>
                <c:pt idx="539">
                  <c:v>41999</c:v>
                </c:pt>
                <c:pt idx="540">
                  <c:v>42030</c:v>
                </c:pt>
                <c:pt idx="541">
                  <c:v>42061</c:v>
                </c:pt>
                <c:pt idx="542">
                  <c:v>42089</c:v>
                </c:pt>
                <c:pt idx="543">
                  <c:v>42120</c:v>
                </c:pt>
                <c:pt idx="544">
                  <c:v>42150</c:v>
                </c:pt>
                <c:pt idx="545">
                  <c:v>42181</c:v>
                </c:pt>
                <c:pt idx="546">
                  <c:v>42211</c:v>
                </c:pt>
                <c:pt idx="547">
                  <c:v>42242</c:v>
                </c:pt>
                <c:pt idx="548">
                  <c:v>42273</c:v>
                </c:pt>
                <c:pt idx="549">
                  <c:v>42303</c:v>
                </c:pt>
                <c:pt idx="550">
                  <c:v>42334</c:v>
                </c:pt>
                <c:pt idx="551">
                  <c:v>42364</c:v>
                </c:pt>
                <c:pt idx="552">
                  <c:v>42395</c:v>
                </c:pt>
                <c:pt idx="553">
                  <c:v>42426</c:v>
                </c:pt>
                <c:pt idx="554">
                  <c:v>42455</c:v>
                </c:pt>
                <c:pt idx="555">
                  <c:v>42486</c:v>
                </c:pt>
                <c:pt idx="556">
                  <c:v>42516</c:v>
                </c:pt>
                <c:pt idx="557">
                  <c:v>42547</c:v>
                </c:pt>
                <c:pt idx="558">
                  <c:v>42577</c:v>
                </c:pt>
                <c:pt idx="559">
                  <c:v>42608</c:v>
                </c:pt>
                <c:pt idx="560">
                  <c:v>42639</c:v>
                </c:pt>
                <c:pt idx="561">
                  <c:v>42669</c:v>
                </c:pt>
                <c:pt idx="562">
                  <c:v>42700</c:v>
                </c:pt>
                <c:pt idx="563">
                  <c:v>42730</c:v>
                </c:pt>
                <c:pt idx="564">
                  <c:v>42761</c:v>
                </c:pt>
                <c:pt idx="565">
                  <c:v>42792</c:v>
                </c:pt>
                <c:pt idx="566">
                  <c:v>42820</c:v>
                </c:pt>
                <c:pt idx="567">
                  <c:v>42851</c:v>
                </c:pt>
                <c:pt idx="568">
                  <c:v>42881</c:v>
                </c:pt>
                <c:pt idx="569">
                  <c:v>42912</c:v>
                </c:pt>
                <c:pt idx="570">
                  <c:v>42942</c:v>
                </c:pt>
                <c:pt idx="571">
                  <c:v>42973</c:v>
                </c:pt>
                <c:pt idx="572">
                  <c:v>43004</c:v>
                </c:pt>
                <c:pt idx="573">
                  <c:v>43034</c:v>
                </c:pt>
                <c:pt idx="574">
                  <c:v>43065</c:v>
                </c:pt>
                <c:pt idx="575">
                  <c:v>43095</c:v>
                </c:pt>
                <c:pt idx="576">
                  <c:v>43126</c:v>
                </c:pt>
                <c:pt idx="577">
                  <c:v>43157</c:v>
                </c:pt>
                <c:pt idx="578">
                  <c:v>43185</c:v>
                </c:pt>
                <c:pt idx="579">
                  <c:v>43216</c:v>
                </c:pt>
                <c:pt idx="580">
                  <c:v>43246</c:v>
                </c:pt>
                <c:pt idx="581">
                  <c:v>43277</c:v>
                </c:pt>
                <c:pt idx="582">
                  <c:v>43307</c:v>
                </c:pt>
                <c:pt idx="583">
                  <c:v>43338</c:v>
                </c:pt>
                <c:pt idx="584">
                  <c:v>43369</c:v>
                </c:pt>
                <c:pt idx="585">
                  <c:v>43399</c:v>
                </c:pt>
                <c:pt idx="586">
                  <c:v>43430</c:v>
                </c:pt>
                <c:pt idx="587">
                  <c:v>43460</c:v>
                </c:pt>
                <c:pt idx="588">
                  <c:v>43491</c:v>
                </c:pt>
                <c:pt idx="589">
                  <c:v>43522</c:v>
                </c:pt>
                <c:pt idx="590">
                  <c:v>43550</c:v>
                </c:pt>
                <c:pt idx="591">
                  <c:v>43581</c:v>
                </c:pt>
                <c:pt idx="592">
                  <c:v>43611</c:v>
                </c:pt>
                <c:pt idx="593">
                  <c:v>43642</c:v>
                </c:pt>
                <c:pt idx="594">
                  <c:v>43672</c:v>
                </c:pt>
                <c:pt idx="595">
                  <c:v>43703</c:v>
                </c:pt>
                <c:pt idx="596">
                  <c:v>43734</c:v>
                </c:pt>
                <c:pt idx="597">
                  <c:v>43764</c:v>
                </c:pt>
                <c:pt idx="598">
                  <c:v>43795</c:v>
                </c:pt>
                <c:pt idx="599">
                  <c:v>43825</c:v>
                </c:pt>
                <c:pt idx="600">
                  <c:v>43856</c:v>
                </c:pt>
                <c:pt idx="601">
                  <c:v>43887</c:v>
                </c:pt>
                <c:pt idx="602">
                  <c:v>43916</c:v>
                </c:pt>
                <c:pt idx="603">
                  <c:v>43947</c:v>
                </c:pt>
                <c:pt idx="604">
                  <c:v>43977</c:v>
                </c:pt>
                <c:pt idx="605">
                  <c:v>44008</c:v>
                </c:pt>
                <c:pt idx="606">
                  <c:v>44038</c:v>
                </c:pt>
                <c:pt idx="607">
                  <c:v>44069</c:v>
                </c:pt>
                <c:pt idx="608">
                  <c:v>44100</c:v>
                </c:pt>
                <c:pt idx="609">
                  <c:v>44130</c:v>
                </c:pt>
                <c:pt idx="610">
                  <c:v>44161</c:v>
                </c:pt>
                <c:pt idx="611">
                  <c:v>44191</c:v>
                </c:pt>
                <c:pt idx="612">
                  <c:v>44222</c:v>
                </c:pt>
                <c:pt idx="613">
                  <c:v>44253</c:v>
                </c:pt>
                <c:pt idx="614">
                  <c:v>44281</c:v>
                </c:pt>
                <c:pt idx="615">
                  <c:v>44312</c:v>
                </c:pt>
                <c:pt idx="616">
                  <c:v>44342</c:v>
                </c:pt>
                <c:pt idx="617">
                  <c:v>44373</c:v>
                </c:pt>
                <c:pt idx="618">
                  <c:v>44403</c:v>
                </c:pt>
                <c:pt idx="619">
                  <c:v>44434</c:v>
                </c:pt>
                <c:pt idx="620">
                  <c:v>44465</c:v>
                </c:pt>
                <c:pt idx="621">
                  <c:v>44495</c:v>
                </c:pt>
                <c:pt idx="622">
                  <c:v>44526</c:v>
                </c:pt>
                <c:pt idx="623">
                  <c:v>44556</c:v>
                </c:pt>
                <c:pt idx="624">
                  <c:v>44587</c:v>
                </c:pt>
                <c:pt idx="625">
                  <c:v>44618</c:v>
                </c:pt>
                <c:pt idx="626">
                  <c:v>44646</c:v>
                </c:pt>
                <c:pt idx="627">
                  <c:v>44677</c:v>
                </c:pt>
                <c:pt idx="628">
                  <c:v>44707</c:v>
                </c:pt>
                <c:pt idx="629">
                  <c:v>44738</c:v>
                </c:pt>
                <c:pt idx="630">
                  <c:v>44768</c:v>
                </c:pt>
                <c:pt idx="631">
                  <c:v>44799</c:v>
                </c:pt>
                <c:pt idx="632">
                  <c:v>44830</c:v>
                </c:pt>
                <c:pt idx="633">
                  <c:v>44860</c:v>
                </c:pt>
                <c:pt idx="634">
                  <c:v>44891</c:v>
                </c:pt>
                <c:pt idx="635">
                  <c:v>44921</c:v>
                </c:pt>
                <c:pt idx="636">
                  <c:v>44957</c:v>
                </c:pt>
                <c:pt idx="637">
                  <c:v>44738</c:v>
                </c:pt>
                <c:pt idx="638">
                  <c:v>44830</c:v>
                </c:pt>
                <c:pt idx="639">
                  <c:v>44921</c:v>
                </c:pt>
                <c:pt idx="640">
                  <c:v>45011</c:v>
                </c:pt>
                <c:pt idx="641">
                  <c:v>45103</c:v>
                </c:pt>
                <c:pt idx="642">
                  <c:v>45195</c:v>
                </c:pt>
                <c:pt idx="643">
                  <c:v>45286</c:v>
                </c:pt>
                <c:pt idx="644">
                  <c:v>45377</c:v>
                </c:pt>
                <c:pt idx="645">
                  <c:v>45469</c:v>
                </c:pt>
                <c:pt idx="646">
                  <c:v>45561</c:v>
                </c:pt>
                <c:pt idx="647">
                  <c:v>45652</c:v>
                </c:pt>
              </c:numCache>
            </c:numRef>
          </c:cat>
          <c:val>
            <c:numRef>
              <c:f>Data!$E$7:$E$1000</c:f>
              <c:numCache>
                <c:formatCode>0.00</c:formatCode>
                <c:ptCount val="994"/>
                <c:pt idx="0">
                  <c:v>#N/A</c:v>
                </c:pt>
                <c:pt idx="1">
                  <c:v>#N/A</c:v>
                </c:pt>
                <c:pt idx="2">
                  <c:v>#N/A</c:v>
                </c:pt>
                <c:pt idx="3">
                  <c:v>#N/A</c:v>
                </c:pt>
                <c:pt idx="4">
                  <c:v>#N/A</c:v>
                </c:pt>
                <c:pt idx="5">
                  <c:v>#N/A</c:v>
                </c:pt>
                <c:pt idx="6">
                  <c:v>#N/A</c:v>
                </c:pt>
                <c:pt idx="7">
                  <c:v>#N/A</c:v>
                </c:pt>
                <c:pt idx="8">
                  <c:v>#N/A</c:v>
                </c:pt>
                <c:pt idx="9">
                  <c:v>#N/A</c:v>
                </c:pt>
                <c:pt idx="10">
                  <c:v>#N/A</c:v>
                </c:pt>
                <c:pt idx="11">
                  <c:v>#N/A</c:v>
                </c:pt>
                <c:pt idx="12">
                  <c:v>4.25</c:v>
                </c:pt>
                <c:pt idx="13">
                  <c:v>3.5</c:v>
                </c:pt>
                <c:pt idx="14">
                  <c:v>3.5</c:v>
                </c:pt>
                <c:pt idx="15">
                  <c:v>3.5</c:v>
                </c:pt>
                <c:pt idx="16">
                  <c:v>3.5</c:v>
                </c:pt>
                <c:pt idx="17">
                  <c:v>3.5</c:v>
                </c:pt>
                <c:pt idx="18">
                  <c:v>5</c:v>
                </c:pt>
                <c:pt idx="19">
                  <c:v>5</c:v>
                </c:pt>
                <c:pt idx="20">
                  <c:v>5</c:v>
                </c:pt>
                <c:pt idx="21">
                  <c:v>5</c:v>
                </c:pt>
                <c:pt idx="22">
                  <c:v>4.75</c:v>
                </c:pt>
                <c:pt idx="23">
                  <c:v>4</c:v>
                </c:pt>
                <c:pt idx="24">
                  <c:v>4</c:v>
                </c:pt>
                <c:pt idx="25">
                  <c:v>4</c:v>
                </c:pt>
                <c:pt idx="26">
                  <c:v>4</c:v>
                </c:pt>
                <c:pt idx="27">
                  <c:v>5.5</c:v>
                </c:pt>
                <c:pt idx="28">
                  <c:v>5.5</c:v>
                </c:pt>
                <c:pt idx="29">
                  <c:v>5.5</c:v>
                </c:pt>
                <c:pt idx="30">
                  <c:v>5.5</c:v>
                </c:pt>
                <c:pt idx="31">
                  <c:v>5.5</c:v>
                </c:pt>
                <c:pt idx="32">
                  <c:v>5.5</c:v>
                </c:pt>
                <c:pt idx="33">
                  <c:v>5.5</c:v>
                </c:pt>
                <c:pt idx="34">
                  <c:v>5.5</c:v>
                </c:pt>
                <c:pt idx="35">
                  <c:v>5.5</c:v>
                </c:pt>
                <c:pt idx="36">
                  <c:v>6</c:v>
                </c:pt>
                <c:pt idx="37">
                  <c:v>6.75</c:v>
                </c:pt>
                <c:pt idx="38">
                  <c:v>6.75</c:v>
                </c:pt>
                <c:pt idx="39">
                  <c:v>7.25</c:v>
                </c:pt>
                <c:pt idx="40">
                  <c:v>7.5</c:v>
                </c:pt>
                <c:pt idx="41">
                  <c:v>8.5</c:v>
                </c:pt>
                <c:pt idx="42">
                  <c:v>9.5</c:v>
                </c:pt>
                <c:pt idx="43">
                  <c:v>9.5</c:v>
                </c:pt>
                <c:pt idx="44">
                  <c:v>9.5</c:v>
                </c:pt>
                <c:pt idx="45">
                  <c:v>9.5</c:v>
                </c:pt>
                <c:pt idx="46">
                  <c:v>9.5</c:v>
                </c:pt>
                <c:pt idx="47">
                  <c:v>9.5</c:v>
                </c:pt>
                <c:pt idx="48">
                  <c:v>9.5</c:v>
                </c:pt>
                <c:pt idx="49">
                  <c:v>9.5</c:v>
                </c:pt>
                <c:pt idx="50">
                  <c:v>9.5</c:v>
                </c:pt>
                <c:pt idx="51">
                  <c:v>11</c:v>
                </c:pt>
                <c:pt idx="52">
                  <c:v>11</c:v>
                </c:pt>
                <c:pt idx="53">
                  <c:v>11</c:v>
                </c:pt>
                <c:pt idx="54">
                  <c:v>11</c:v>
                </c:pt>
                <c:pt idx="55">
                  <c:v>9.25</c:v>
                </c:pt>
                <c:pt idx="56">
                  <c:v>9.25</c:v>
                </c:pt>
                <c:pt idx="57">
                  <c:v>9.25</c:v>
                </c:pt>
                <c:pt idx="58">
                  <c:v>9.25</c:v>
                </c:pt>
                <c:pt idx="59">
                  <c:v>8.75</c:v>
                </c:pt>
                <c:pt idx="60">
                  <c:v>7.25</c:v>
                </c:pt>
                <c:pt idx="61">
                  <c:v>6.25</c:v>
                </c:pt>
                <c:pt idx="62">
                  <c:v>5.5</c:v>
                </c:pt>
                <c:pt idx="63">
                  <c:v>5.5</c:v>
                </c:pt>
                <c:pt idx="64">
                  <c:v>5.25</c:v>
                </c:pt>
                <c:pt idx="65">
                  <c:v>5.25</c:v>
                </c:pt>
                <c:pt idx="66">
                  <c:v>5.25</c:v>
                </c:pt>
                <c:pt idx="67">
                  <c:v>5.25</c:v>
                </c:pt>
                <c:pt idx="68">
                  <c:v>5.25</c:v>
                </c:pt>
                <c:pt idx="69">
                  <c:v>5.25</c:v>
                </c:pt>
                <c:pt idx="70">
                  <c:v>5.25</c:v>
                </c:pt>
                <c:pt idx="71">
                  <c:v>5.25</c:v>
                </c:pt>
                <c:pt idx="72">
                  <c:v>4.75</c:v>
                </c:pt>
                <c:pt idx="73">
                  <c:v>4.75</c:v>
                </c:pt>
                <c:pt idx="74">
                  <c:v>4.75</c:v>
                </c:pt>
                <c:pt idx="75">
                  <c:v>4.875</c:v>
                </c:pt>
                <c:pt idx="76">
                  <c:v>4.875</c:v>
                </c:pt>
                <c:pt idx="77">
                  <c:v>5.5</c:v>
                </c:pt>
                <c:pt idx="78">
                  <c:v>5.5</c:v>
                </c:pt>
                <c:pt idx="79">
                  <c:v>5.5</c:v>
                </c:pt>
                <c:pt idx="80">
                  <c:v>5.5</c:v>
                </c:pt>
                <c:pt idx="81">
                  <c:v>5</c:v>
                </c:pt>
                <c:pt idx="82">
                  <c:v>4.75</c:v>
                </c:pt>
                <c:pt idx="83">
                  <c:v>4.75</c:v>
                </c:pt>
                <c:pt idx="84">
                  <c:v>4.75</c:v>
                </c:pt>
                <c:pt idx="85">
                  <c:v>4.75</c:v>
                </c:pt>
                <c:pt idx="86">
                  <c:v>4.75</c:v>
                </c:pt>
                <c:pt idx="87">
                  <c:v>4.75</c:v>
                </c:pt>
                <c:pt idx="88">
                  <c:v>4.75</c:v>
                </c:pt>
                <c:pt idx="89">
                  <c:v>4.75</c:v>
                </c:pt>
                <c:pt idx="90">
                  <c:v>4.75</c:v>
                </c:pt>
                <c:pt idx="91">
                  <c:v>5.875</c:v>
                </c:pt>
                <c:pt idx="92">
                  <c:v>6.25</c:v>
                </c:pt>
                <c:pt idx="93">
                  <c:v>6.25</c:v>
                </c:pt>
                <c:pt idx="94">
                  <c:v>6.25</c:v>
                </c:pt>
                <c:pt idx="95">
                  <c:v>6.25</c:v>
                </c:pt>
                <c:pt idx="96">
                  <c:v>6.75</c:v>
                </c:pt>
                <c:pt idx="97">
                  <c:v>6.75</c:v>
                </c:pt>
                <c:pt idx="98">
                  <c:v>6.75</c:v>
                </c:pt>
                <c:pt idx="99">
                  <c:v>7</c:v>
                </c:pt>
                <c:pt idx="100">
                  <c:v>7.5</c:v>
                </c:pt>
                <c:pt idx="101">
                  <c:v>7.75</c:v>
                </c:pt>
                <c:pt idx="102">
                  <c:v>7.75</c:v>
                </c:pt>
                <c:pt idx="103">
                  <c:v>8.25</c:v>
                </c:pt>
                <c:pt idx="104">
                  <c:v>8.5</c:v>
                </c:pt>
                <c:pt idx="105">
                  <c:v>9</c:v>
                </c:pt>
                <c:pt idx="106">
                  <c:v>9</c:v>
                </c:pt>
                <c:pt idx="107">
                  <c:v>10</c:v>
                </c:pt>
                <c:pt idx="108">
                  <c:v>10</c:v>
                </c:pt>
                <c:pt idx="109">
                  <c:v>10</c:v>
                </c:pt>
                <c:pt idx="110">
                  <c:v>10</c:v>
                </c:pt>
                <c:pt idx="111">
                  <c:v>10.25</c:v>
                </c:pt>
                <c:pt idx="112">
                  <c:v>10.25</c:v>
                </c:pt>
                <c:pt idx="113">
                  <c:v>10.25</c:v>
                </c:pt>
                <c:pt idx="114">
                  <c:v>10.5</c:v>
                </c:pt>
                <c:pt idx="115">
                  <c:v>11</c:v>
                </c:pt>
                <c:pt idx="116">
                  <c:v>11.5</c:v>
                </c:pt>
                <c:pt idx="117">
                  <c:v>13</c:v>
                </c:pt>
                <c:pt idx="118">
                  <c:v>13</c:v>
                </c:pt>
                <c:pt idx="119">
                  <c:v>13</c:v>
                </c:pt>
                <c:pt idx="120">
                  <c:v>13.5</c:v>
                </c:pt>
                <c:pt idx="121">
                  <c:v>13.5</c:v>
                </c:pt>
                <c:pt idx="122">
                  <c:v>16.5</c:v>
                </c:pt>
                <c:pt idx="123">
                  <c:v>16</c:v>
                </c:pt>
                <c:pt idx="124">
                  <c:v>11.25</c:v>
                </c:pt>
                <c:pt idx="125">
                  <c:v>11.25</c:v>
                </c:pt>
                <c:pt idx="126">
                  <c:v>11.25</c:v>
                </c:pt>
                <c:pt idx="127">
                  <c:v>11</c:v>
                </c:pt>
                <c:pt idx="128">
                  <c:v>11</c:v>
                </c:pt>
                <c:pt idx="129">
                  <c:v>12</c:v>
                </c:pt>
                <c:pt idx="130">
                  <c:v>15</c:v>
                </c:pt>
                <c:pt idx="131">
                  <c:v>17.5</c:v>
                </c:pt>
                <c:pt idx="132">
                  <c:v>17.5</c:v>
                </c:pt>
                <c:pt idx="133">
                  <c:v>17.5</c:v>
                </c:pt>
                <c:pt idx="134">
                  <c:v>17.5</c:v>
                </c:pt>
                <c:pt idx="135">
                  <c:v>15.5</c:v>
                </c:pt>
                <c:pt idx="136">
                  <c:v>19</c:v>
                </c:pt>
                <c:pt idx="137">
                  <c:v>19</c:v>
                </c:pt>
                <c:pt idx="138">
                  <c:v>18</c:v>
                </c:pt>
                <c:pt idx="139">
                  <c:v>18</c:v>
                </c:pt>
                <c:pt idx="140">
                  <c:v>18</c:v>
                </c:pt>
                <c:pt idx="141">
                  <c:v>14.5</c:v>
                </c:pt>
                <c:pt idx="142">
                  <c:v>13</c:v>
                </c:pt>
                <c:pt idx="143">
                  <c:v>12</c:v>
                </c:pt>
                <c:pt idx="144">
                  <c:v>12</c:v>
                </c:pt>
                <c:pt idx="145">
                  <c:v>14</c:v>
                </c:pt>
                <c:pt idx="146">
                  <c:v>14</c:v>
                </c:pt>
                <c:pt idx="147">
                  <c:v>14</c:v>
                </c:pt>
                <c:pt idx="148">
                  <c:v>12.5</c:v>
                </c:pt>
                <c:pt idx="149">
                  <c:v>12.5</c:v>
                </c:pt>
                <c:pt idx="150">
                  <c:v>12.5</c:v>
                </c:pt>
                <c:pt idx="151">
                  <c:v>9</c:v>
                </c:pt>
                <c:pt idx="152">
                  <c:v>9</c:v>
                </c:pt>
                <c:pt idx="153">
                  <c:v>9.5</c:v>
                </c:pt>
                <c:pt idx="154">
                  <c:v>9</c:v>
                </c:pt>
                <c:pt idx="155">
                  <c:v>8.5</c:v>
                </c:pt>
                <c:pt idx="156">
                  <c:v>8.5</c:v>
                </c:pt>
                <c:pt idx="157">
                  <c:v>8.5</c:v>
                </c:pt>
                <c:pt idx="158">
                  <c:v>8.5</c:v>
                </c:pt>
                <c:pt idx="159">
                  <c:v>8.625</c:v>
                </c:pt>
                <c:pt idx="160">
                  <c:v>8.75</c:v>
                </c:pt>
                <c:pt idx="161">
                  <c:v>9</c:v>
                </c:pt>
                <c:pt idx="162">
                  <c:v>9.4375</c:v>
                </c:pt>
                <c:pt idx="163">
                  <c:v>9.5</c:v>
                </c:pt>
                <c:pt idx="164">
                  <c:v>9.375</c:v>
                </c:pt>
                <c:pt idx="165">
                  <c:v>9.375</c:v>
                </c:pt>
                <c:pt idx="166">
                  <c:v>9.375</c:v>
                </c:pt>
                <c:pt idx="167">
                  <c:v>9.375</c:v>
                </c:pt>
                <c:pt idx="168">
                  <c:v>9.375</c:v>
                </c:pt>
                <c:pt idx="169">
                  <c:v>9.375</c:v>
                </c:pt>
                <c:pt idx="170">
                  <c:v>9.375</c:v>
                </c:pt>
                <c:pt idx="171">
                  <c:v>10.5</c:v>
                </c:pt>
                <c:pt idx="172">
                  <c:v>10.5</c:v>
                </c:pt>
                <c:pt idx="173">
                  <c:v>10.5</c:v>
                </c:pt>
                <c:pt idx="174">
                  <c:v>11.25</c:v>
                </c:pt>
                <c:pt idx="175">
                  <c:v>11.5625</c:v>
                </c:pt>
                <c:pt idx="176">
                  <c:v>11.25</c:v>
                </c:pt>
                <c:pt idx="177">
                  <c:v>10</c:v>
                </c:pt>
                <c:pt idx="178">
                  <c:v>9</c:v>
                </c:pt>
                <c:pt idx="179">
                  <c:v>8.5</c:v>
                </c:pt>
                <c:pt idx="180">
                  <c:v>8.25</c:v>
                </c:pt>
                <c:pt idx="181">
                  <c:v>8.5</c:v>
                </c:pt>
                <c:pt idx="182">
                  <c:v>8.625</c:v>
                </c:pt>
                <c:pt idx="183">
                  <c:v>8.25</c:v>
                </c:pt>
                <c:pt idx="184">
                  <c:v>7.75</c:v>
                </c:pt>
                <c:pt idx="185">
                  <c:v>7.75</c:v>
                </c:pt>
                <c:pt idx="186">
                  <c:v>7.75</c:v>
                </c:pt>
                <c:pt idx="187">
                  <c:v>7.8125</c:v>
                </c:pt>
                <c:pt idx="188">
                  <c:v>8</c:v>
                </c:pt>
                <c:pt idx="189">
                  <c:v>8</c:v>
                </c:pt>
                <c:pt idx="190">
                  <c:v>8</c:v>
                </c:pt>
                <c:pt idx="191">
                  <c:v>7.75</c:v>
                </c:pt>
                <c:pt idx="192">
                  <c:v>7.75</c:v>
                </c:pt>
                <c:pt idx="193">
                  <c:v>7.75</c:v>
                </c:pt>
                <c:pt idx="194">
                  <c:v>7.25</c:v>
                </c:pt>
                <c:pt idx="195">
                  <c:v>6.75</c:v>
                </c:pt>
                <c:pt idx="196">
                  <c:v>6.8125</c:v>
                </c:pt>
                <c:pt idx="197">
                  <c:v>6.875</c:v>
                </c:pt>
                <c:pt idx="198">
                  <c:v>6.375</c:v>
                </c:pt>
                <c:pt idx="199">
                  <c:v>5.875</c:v>
                </c:pt>
                <c:pt idx="200">
                  <c:v>5.875</c:v>
                </c:pt>
                <c:pt idx="201">
                  <c:v>5.875</c:v>
                </c:pt>
                <c:pt idx="202">
                  <c:v>5.875</c:v>
                </c:pt>
                <c:pt idx="203">
                  <c:v>6</c:v>
                </c:pt>
                <c:pt idx="204">
                  <c:v>6</c:v>
                </c:pt>
                <c:pt idx="205">
                  <c:v>6</c:v>
                </c:pt>
                <c:pt idx="206">
                  <c:v>6</c:v>
                </c:pt>
                <c:pt idx="207">
                  <c:v>6</c:v>
                </c:pt>
                <c:pt idx="208">
                  <c:v>6.75</c:v>
                </c:pt>
                <c:pt idx="209">
                  <c:v>6.75</c:v>
                </c:pt>
                <c:pt idx="210">
                  <c:v>6.625</c:v>
                </c:pt>
                <c:pt idx="211">
                  <c:v>6.625</c:v>
                </c:pt>
                <c:pt idx="212">
                  <c:v>7.3125</c:v>
                </c:pt>
                <c:pt idx="213">
                  <c:v>7.125</c:v>
                </c:pt>
                <c:pt idx="214">
                  <c:v>6.8125</c:v>
                </c:pt>
                <c:pt idx="215">
                  <c:v>6.8125</c:v>
                </c:pt>
                <c:pt idx="216">
                  <c:v>6.8125</c:v>
                </c:pt>
                <c:pt idx="217">
                  <c:v>6.5</c:v>
                </c:pt>
                <c:pt idx="218">
                  <c:v>6.5</c:v>
                </c:pt>
                <c:pt idx="219">
                  <c:v>6.75</c:v>
                </c:pt>
                <c:pt idx="220">
                  <c:v>7.25</c:v>
                </c:pt>
                <c:pt idx="221">
                  <c:v>7.5</c:v>
                </c:pt>
                <c:pt idx="222">
                  <c:v>7.6875</c:v>
                </c:pt>
                <c:pt idx="223">
                  <c:v>7.75</c:v>
                </c:pt>
                <c:pt idx="224">
                  <c:v>7.75</c:v>
                </c:pt>
                <c:pt idx="225">
                  <c:v>7.75</c:v>
                </c:pt>
                <c:pt idx="226">
                  <c:v>8.375</c:v>
                </c:pt>
                <c:pt idx="227">
                  <c:v>8.6875</c:v>
                </c:pt>
                <c:pt idx="228">
                  <c:v>9</c:v>
                </c:pt>
                <c:pt idx="229">
                  <c:v>9.75</c:v>
                </c:pt>
                <c:pt idx="230">
                  <c:v>9.75</c:v>
                </c:pt>
                <c:pt idx="231">
                  <c:v>9.75</c:v>
                </c:pt>
                <c:pt idx="232">
                  <c:v>9.8125</c:v>
                </c:pt>
                <c:pt idx="233">
                  <c:v>9.5625</c:v>
                </c:pt>
                <c:pt idx="234">
                  <c:v>9.3125</c:v>
                </c:pt>
                <c:pt idx="235">
                  <c:v>9</c:v>
                </c:pt>
                <c:pt idx="236">
                  <c:v>9</c:v>
                </c:pt>
                <c:pt idx="237">
                  <c:v>8.75</c:v>
                </c:pt>
                <c:pt idx="238">
                  <c:v>8.5</c:v>
                </c:pt>
                <c:pt idx="239">
                  <c:v>8.25</c:v>
                </c:pt>
                <c:pt idx="240">
                  <c:v>8.25</c:v>
                </c:pt>
                <c:pt idx="241">
                  <c:v>8.25</c:v>
                </c:pt>
                <c:pt idx="242">
                  <c:v>8.25</c:v>
                </c:pt>
                <c:pt idx="243">
                  <c:v>8.25</c:v>
                </c:pt>
                <c:pt idx="244">
                  <c:v>8.25</c:v>
                </c:pt>
                <c:pt idx="245">
                  <c:v>8.25</c:v>
                </c:pt>
                <c:pt idx="246">
                  <c:v>8</c:v>
                </c:pt>
                <c:pt idx="247">
                  <c:v>8</c:v>
                </c:pt>
                <c:pt idx="248">
                  <c:v>8</c:v>
                </c:pt>
                <c:pt idx="249">
                  <c:v>8</c:v>
                </c:pt>
                <c:pt idx="250">
                  <c:v>7.5</c:v>
                </c:pt>
                <c:pt idx="251">
                  <c:v>7</c:v>
                </c:pt>
                <c:pt idx="252">
                  <c:v>6.75</c:v>
                </c:pt>
                <c:pt idx="253">
                  <c:v>6.25</c:v>
                </c:pt>
                <c:pt idx="254">
                  <c:v>6</c:v>
                </c:pt>
                <c:pt idx="255">
                  <c:v>6</c:v>
                </c:pt>
                <c:pt idx="256">
                  <c:v>5.75</c:v>
                </c:pt>
                <c:pt idx="257">
                  <c:v>5.75</c:v>
                </c:pt>
                <c:pt idx="258">
                  <c:v>5.75</c:v>
                </c:pt>
                <c:pt idx="259">
                  <c:v>5.5</c:v>
                </c:pt>
                <c:pt idx="260">
                  <c:v>5.25</c:v>
                </c:pt>
                <c:pt idx="261">
                  <c:v>5.25</c:v>
                </c:pt>
                <c:pt idx="262">
                  <c:v>4.75</c:v>
                </c:pt>
                <c:pt idx="263">
                  <c:v>4</c:v>
                </c:pt>
                <c:pt idx="264">
                  <c:v>4</c:v>
                </c:pt>
                <c:pt idx="265">
                  <c:v>4</c:v>
                </c:pt>
                <c:pt idx="266">
                  <c:v>4</c:v>
                </c:pt>
                <c:pt idx="267">
                  <c:v>3.75</c:v>
                </c:pt>
                <c:pt idx="268">
                  <c:v>3.75</c:v>
                </c:pt>
                <c:pt idx="269">
                  <c:v>3.75</c:v>
                </c:pt>
                <c:pt idx="270">
                  <c:v>3.25</c:v>
                </c:pt>
                <c:pt idx="271">
                  <c:v>3.25</c:v>
                </c:pt>
                <c:pt idx="272">
                  <c:v>3</c:v>
                </c:pt>
                <c:pt idx="273">
                  <c:v>3</c:v>
                </c:pt>
                <c:pt idx="274">
                  <c:v>3</c:v>
                </c:pt>
                <c:pt idx="275">
                  <c:v>3</c:v>
                </c:pt>
                <c:pt idx="276">
                  <c:v>3</c:v>
                </c:pt>
                <c:pt idx="277">
                  <c:v>3</c:v>
                </c:pt>
                <c:pt idx="278">
                  <c:v>3</c:v>
                </c:pt>
                <c:pt idx="279">
                  <c:v>3</c:v>
                </c:pt>
                <c:pt idx="280">
                  <c:v>3</c:v>
                </c:pt>
                <c:pt idx="281">
                  <c:v>3</c:v>
                </c:pt>
                <c:pt idx="282">
                  <c:v>3</c:v>
                </c:pt>
                <c:pt idx="283">
                  <c:v>3</c:v>
                </c:pt>
                <c:pt idx="284">
                  <c:v>3</c:v>
                </c:pt>
                <c:pt idx="285">
                  <c:v>3</c:v>
                </c:pt>
                <c:pt idx="286">
                  <c:v>3</c:v>
                </c:pt>
                <c:pt idx="287">
                  <c:v>3</c:v>
                </c:pt>
                <c:pt idx="288">
                  <c:v>3</c:v>
                </c:pt>
                <c:pt idx="289">
                  <c:v>3.25</c:v>
                </c:pt>
                <c:pt idx="290">
                  <c:v>3.5</c:v>
                </c:pt>
                <c:pt idx="291">
                  <c:v>3.75</c:v>
                </c:pt>
                <c:pt idx="292">
                  <c:v>4.25</c:v>
                </c:pt>
                <c:pt idx="293">
                  <c:v>4.25</c:v>
                </c:pt>
                <c:pt idx="294">
                  <c:v>4.25</c:v>
                </c:pt>
                <c:pt idx="295">
                  <c:v>4.75</c:v>
                </c:pt>
                <c:pt idx="296">
                  <c:v>4.75</c:v>
                </c:pt>
                <c:pt idx="297">
                  <c:v>4.75</c:v>
                </c:pt>
                <c:pt idx="298">
                  <c:v>5.5</c:v>
                </c:pt>
                <c:pt idx="299">
                  <c:v>5.5</c:v>
                </c:pt>
                <c:pt idx="300">
                  <c:v>5.5</c:v>
                </c:pt>
                <c:pt idx="301">
                  <c:v>6</c:v>
                </c:pt>
                <c:pt idx="302">
                  <c:v>6</c:v>
                </c:pt>
                <c:pt idx="303">
                  <c:v>6</c:v>
                </c:pt>
                <c:pt idx="304">
                  <c:v>6</c:v>
                </c:pt>
                <c:pt idx="305">
                  <c:v>6</c:v>
                </c:pt>
                <c:pt idx="306">
                  <c:v>5.75</c:v>
                </c:pt>
                <c:pt idx="307">
                  <c:v>5.75</c:v>
                </c:pt>
                <c:pt idx="308">
                  <c:v>5.75</c:v>
                </c:pt>
                <c:pt idx="309">
                  <c:v>5.75</c:v>
                </c:pt>
                <c:pt idx="310">
                  <c:v>5.75</c:v>
                </c:pt>
                <c:pt idx="311">
                  <c:v>5.5</c:v>
                </c:pt>
                <c:pt idx="312">
                  <c:v>5.5</c:v>
                </c:pt>
                <c:pt idx="313">
                  <c:v>5.25</c:v>
                </c:pt>
                <c:pt idx="314">
                  <c:v>5.25</c:v>
                </c:pt>
                <c:pt idx="315">
                  <c:v>5.25</c:v>
                </c:pt>
                <c:pt idx="316">
                  <c:v>5.25</c:v>
                </c:pt>
                <c:pt idx="317">
                  <c:v>5.25</c:v>
                </c:pt>
                <c:pt idx="318">
                  <c:v>5.25</c:v>
                </c:pt>
                <c:pt idx="319">
                  <c:v>5.25</c:v>
                </c:pt>
                <c:pt idx="320">
                  <c:v>5.25</c:v>
                </c:pt>
                <c:pt idx="321">
                  <c:v>5.25</c:v>
                </c:pt>
                <c:pt idx="322">
                  <c:v>5.25</c:v>
                </c:pt>
                <c:pt idx="323">
                  <c:v>5.25</c:v>
                </c:pt>
                <c:pt idx="324">
                  <c:v>5.25</c:v>
                </c:pt>
                <c:pt idx="325">
                  <c:v>5.25</c:v>
                </c:pt>
                <c:pt idx="326">
                  <c:v>5.5</c:v>
                </c:pt>
                <c:pt idx="327">
                  <c:v>5.5</c:v>
                </c:pt>
                <c:pt idx="328">
                  <c:v>5.5</c:v>
                </c:pt>
                <c:pt idx="329">
                  <c:v>5.5</c:v>
                </c:pt>
                <c:pt idx="330">
                  <c:v>5.5</c:v>
                </c:pt>
                <c:pt idx="331">
                  <c:v>5.5</c:v>
                </c:pt>
                <c:pt idx="332">
                  <c:v>5.5</c:v>
                </c:pt>
                <c:pt idx="333">
                  <c:v>5.5</c:v>
                </c:pt>
                <c:pt idx="334">
                  <c:v>5.5</c:v>
                </c:pt>
                <c:pt idx="335">
                  <c:v>5.5</c:v>
                </c:pt>
                <c:pt idx="336">
                  <c:v>5.5</c:v>
                </c:pt>
                <c:pt idx="337">
                  <c:v>5.5</c:v>
                </c:pt>
                <c:pt idx="338">
                  <c:v>5.5</c:v>
                </c:pt>
                <c:pt idx="339">
                  <c:v>5.5</c:v>
                </c:pt>
                <c:pt idx="340">
                  <c:v>5.5</c:v>
                </c:pt>
                <c:pt idx="341">
                  <c:v>5.5</c:v>
                </c:pt>
                <c:pt idx="342">
                  <c:v>5.5</c:v>
                </c:pt>
                <c:pt idx="343">
                  <c:v>5.5</c:v>
                </c:pt>
                <c:pt idx="344">
                  <c:v>5.5</c:v>
                </c:pt>
                <c:pt idx="345">
                  <c:v>5</c:v>
                </c:pt>
                <c:pt idx="346">
                  <c:v>4.75</c:v>
                </c:pt>
                <c:pt idx="347">
                  <c:v>4.75</c:v>
                </c:pt>
                <c:pt idx="348">
                  <c:v>4.75</c:v>
                </c:pt>
                <c:pt idx="349">
                  <c:v>4.75</c:v>
                </c:pt>
                <c:pt idx="350">
                  <c:v>4.75</c:v>
                </c:pt>
                <c:pt idx="351">
                  <c:v>4.75</c:v>
                </c:pt>
                <c:pt idx="352">
                  <c:v>4.75</c:v>
                </c:pt>
                <c:pt idx="353">
                  <c:v>4.75</c:v>
                </c:pt>
                <c:pt idx="354">
                  <c:v>5</c:v>
                </c:pt>
                <c:pt idx="355">
                  <c:v>5.25</c:v>
                </c:pt>
                <c:pt idx="356">
                  <c:v>5.25</c:v>
                </c:pt>
                <c:pt idx="357">
                  <c:v>5.25</c:v>
                </c:pt>
                <c:pt idx="358">
                  <c:v>5.5</c:v>
                </c:pt>
                <c:pt idx="359">
                  <c:v>5.5</c:v>
                </c:pt>
                <c:pt idx="360">
                  <c:v>5.5</c:v>
                </c:pt>
                <c:pt idx="361">
                  <c:v>5.75</c:v>
                </c:pt>
                <c:pt idx="362">
                  <c:v>6</c:v>
                </c:pt>
                <c:pt idx="363">
                  <c:v>6</c:v>
                </c:pt>
                <c:pt idx="364">
                  <c:v>6.5</c:v>
                </c:pt>
                <c:pt idx="365">
                  <c:v>6.5</c:v>
                </c:pt>
                <c:pt idx="366">
                  <c:v>6.5</c:v>
                </c:pt>
                <c:pt idx="367">
                  <c:v>6.5</c:v>
                </c:pt>
                <c:pt idx="368">
                  <c:v>6.5</c:v>
                </c:pt>
                <c:pt idx="369">
                  <c:v>6.5</c:v>
                </c:pt>
                <c:pt idx="370">
                  <c:v>6.5</c:v>
                </c:pt>
                <c:pt idx="371">
                  <c:v>6.5</c:v>
                </c:pt>
                <c:pt idx="372">
                  <c:v>6</c:v>
                </c:pt>
                <c:pt idx="373">
                  <c:v>5.5</c:v>
                </c:pt>
                <c:pt idx="374">
                  <c:v>5</c:v>
                </c:pt>
                <c:pt idx="375">
                  <c:v>4.5</c:v>
                </c:pt>
                <c:pt idx="376">
                  <c:v>4</c:v>
                </c:pt>
                <c:pt idx="377">
                  <c:v>4</c:v>
                </c:pt>
                <c:pt idx="378">
                  <c:v>3.75</c:v>
                </c:pt>
                <c:pt idx="379">
                  <c:v>3.5</c:v>
                </c:pt>
                <c:pt idx="380">
                  <c:v>3</c:v>
                </c:pt>
                <c:pt idx="381">
                  <c:v>2.5</c:v>
                </c:pt>
                <c:pt idx="382">
                  <c:v>2</c:v>
                </c:pt>
                <c:pt idx="383">
                  <c:v>1.75</c:v>
                </c:pt>
                <c:pt idx="384">
                  <c:v>1.75</c:v>
                </c:pt>
                <c:pt idx="385">
                  <c:v>1.75</c:v>
                </c:pt>
                <c:pt idx="386">
                  <c:v>1.75</c:v>
                </c:pt>
                <c:pt idx="387">
                  <c:v>1.75</c:v>
                </c:pt>
                <c:pt idx="388">
                  <c:v>1.75</c:v>
                </c:pt>
                <c:pt idx="389">
                  <c:v>1.75</c:v>
                </c:pt>
                <c:pt idx="390">
                  <c:v>1.75</c:v>
                </c:pt>
                <c:pt idx="391">
                  <c:v>1.75</c:v>
                </c:pt>
                <c:pt idx="392">
                  <c:v>1.75</c:v>
                </c:pt>
                <c:pt idx="393">
                  <c:v>1.75</c:v>
                </c:pt>
                <c:pt idx="394">
                  <c:v>1.25</c:v>
                </c:pt>
                <c:pt idx="395">
                  <c:v>1.25</c:v>
                </c:pt>
                <c:pt idx="396">
                  <c:v>1.25</c:v>
                </c:pt>
                <c:pt idx="397">
                  <c:v>1.25</c:v>
                </c:pt>
                <c:pt idx="398">
                  <c:v>1.25</c:v>
                </c:pt>
                <c:pt idx="399">
                  <c:v>1.25</c:v>
                </c:pt>
                <c:pt idx="400">
                  <c:v>1.25</c:v>
                </c:pt>
                <c:pt idx="401">
                  <c:v>1</c:v>
                </c:pt>
                <c:pt idx="402">
                  <c:v>1</c:v>
                </c:pt>
                <c:pt idx="403">
                  <c:v>1</c:v>
                </c:pt>
                <c:pt idx="404">
                  <c:v>1</c:v>
                </c:pt>
                <c:pt idx="405">
                  <c:v>1</c:v>
                </c:pt>
                <c:pt idx="406">
                  <c:v>1</c:v>
                </c:pt>
                <c:pt idx="407">
                  <c:v>1</c:v>
                </c:pt>
                <c:pt idx="408">
                  <c:v>1</c:v>
                </c:pt>
                <c:pt idx="409">
                  <c:v>1</c:v>
                </c:pt>
                <c:pt idx="410">
                  <c:v>1</c:v>
                </c:pt>
                <c:pt idx="411">
                  <c:v>1</c:v>
                </c:pt>
                <c:pt idx="412">
                  <c:v>1</c:v>
                </c:pt>
                <c:pt idx="413">
                  <c:v>1</c:v>
                </c:pt>
                <c:pt idx="414">
                  <c:v>1.25</c:v>
                </c:pt>
                <c:pt idx="415">
                  <c:v>1.5</c:v>
                </c:pt>
                <c:pt idx="416">
                  <c:v>1.75</c:v>
                </c:pt>
                <c:pt idx="417">
                  <c:v>1.75</c:v>
                </c:pt>
                <c:pt idx="418">
                  <c:v>2</c:v>
                </c:pt>
                <c:pt idx="419">
                  <c:v>2.25</c:v>
                </c:pt>
                <c:pt idx="420">
                  <c:v>2.25</c:v>
                </c:pt>
                <c:pt idx="421">
                  <c:v>2.5</c:v>
                </c:pt>
                <c:pt idx="422">
                  <c:v>2.75</c:v>
                </c:pt>
                <c:pt idx="423">
                  <c:v>2.75</c:v>
                </c:pt>
                <c:pt idx="424">
                  <c:v>3</c:v>
                </c:pt>
                <c:pt idx="425">
                  <c:v>3</c:v>
                </c:pt>
                <c:pt idx="426">
                  <c:v>3.25</c:v>
                </c:pt>
                <c:pt idx="427">
                  <c:v>3.5</c:v>
                </c:pt>
                <c:pt idx="428">
                  <c:v>3.75</c:v>
                </c:pt>
                <c:pt idx="429">
                  <c:v>3.75</c:v>
                </c:pt>
                <c:pt idx="430">
                  <c:v>4</c:v>
                </c:pt>
                <c:pt idx="431">
                  <c:v>4.25</c:v>
                </c:pt>
                <c:pt idx="432">
                  <c:v>4.25</c:v>
                </c:pt>
                <c:pt idx="433">
                  <c:v>4.5</c:v>
                </c:pt>
                <c:pt idx="434">
                  <c:v>4.5</c:v>
                </c:pt>
                <c:pt idx="435">
                  <c:v>4.75</c:v>
                </c:pt>
                <c:pt idx="436">
                  <c:v>5</c:v>
                </c:pt>
                <c:pt idx="437">
                  <c:v>5</c:v>
                </c:pt>
                <c:pt idx="438">
                  <c:v>5.25</c:v>
                </c:pt>
                <c:pt idx="439">
                  <c:v>5.25</c:v>
                </c:pt>
                <c:pt idx="440">
                  <c:v>5.25</c:v>
                </c:pt>
                <c:pt idx="441">
                  <c:v>5.25</c:v>
                </c:pt>
                <c:pt idx="442">
                  <c:v>5.25</c:v>
                </c:pt>
                <c:pt idx="443">
                  <c:v>5.25</c:v>
                </c:pt>
                <c:pt idx="444">
                  <c:v>5.25</c:v>
                </c:pt>
                <c:pt idx="445">
                  <c:v>5.25</c:v>
                </c:pt>
                <c:pt idx="446">
                  <c:v>5.25</c:v>
                </c:pt>
                <c:pt idx="447">
                  <c:v>5.25</c:v>
                </c:pt>
                <c:pt idx="448">
                  <c:v>5.25</c:v>
                </c:pt>
                <c:pt idx="449">
                  <c:v>5.25</c:v>
                </c:pt>
                <c:pt idx="450">
                  <c:v>5.25</c:v>
                </c:pt>
                <c:pt idx="451">
                  <c:v>5.25</c:v>
                </c:pt>
                <c:pt idx="452">
                  <c:v>4.75</c:v>
                </c:pt>
                <c:pt idx="453">
                  <c:v>4.75</c:v>
                </c:pt>
                <c:pt idx="454">
                  <c:v>4.5</c:v>
                </c:pt>
                <c:pt idx="455">
                  <c:v>4.25</c:v>
                </c:pt>
                <c:pt idx="456">
                  <c:v>3.5</c:v>
                </c:pt>
                <c:pt idx="457">
                  <c:v>3</c:v>
                </c:pt>
                <c:pt idx="458">
                  <c:v>2.25</c:v>
                </c:pt>
                <c:pt idx="459">
                  <c:v>2.25</c:v>
                </c:pt>
                <c:pt idx="460">
                  <c:v>2</c:v>
                </c:pt>
                <c:pt idx="461">
                  <c:v>2</c:v>
                </c:pt>
                <c:pt idx="462">
                  <c:v>2</c:v>
                </c:pt>
                <c:pt idx="463">
                  <c:v>2</c:v>
                </c:pt>
                <c:pt idx="464">
                  <c:v>2</c:v>
                </c:pt>
                <c:pt idx="465">
                  <c:v>1.5</c:v>
                </c:pt>
                <c:pt idx="466">
                  <c:v>1</c:v>
                </c:pt>
                <c:pt idx="467">
                  <c:v>0.25</c:v>
                </c:pt>
                <c:pt idx="468">
                  <c:v>0.25</c:v>
                </c:pt>
                <c:pt idx="469">
                  <c:v>0.25</c:v>
                </c:pt>
                <c:pt idx="470">
                  <c:v>0.25</c:v>
                </c:pt>
                <c:pt idx="471">
                  <c:v>0.25</c:v>
                </c:pt>
                <c:pt idx="472">
                  <c:v>0.25</c:v>
                </c:pt>
                <c:pt idx="473">
                  <c:v>0.25</c:v>
                </c:pt>
                <c:pt idx="474">
                  <c:v>0.25</c:v>
                </c:pt>
                <c:pt idx="475">
                  <c:v>0.25</c:v>
                </c:pt>
                <c:pt idx="476">
                  <c:v>0.25</c:v>
                </c:pt>
                <c:pt idx="477">
                  <c:v>0.25</c:v>
                </c:pt>
                <c:pt idx="478">
                  <c:v>0.25</c:v>
                </c:pt>
                <c:pt idx="479">
                  <c:v>0.25</c:v>
                </c:pt>
                <c:pt idx="480">
                  <c:v>0.25</c:v>
                </c:pt>
                <c:pt idx="481">
                  <c:v>0.25</c:v>
                </c:pt>
                <c:pt idx="482">
                  <c:v>0.25</c:v>
                </c:pt>
                <c:pt idx="483">
                  <c:v>0.25</c:v>
                </c:pt>
                <c:pt idx="484">
                  <c:v>0.25</c:v>
                </c:pt>
                <c:pt idx="485">
                  <c:v>0.25</c:v>
                </c:pt>
                <c:pt idx="486">
                  <c:v>0.25</c:v>
                </c:pt>
                <c:pt idx="487">
                  <c:v>0.25</c:v>
                </c:pt>
                <c:pt idx="488">
                  <c:v>0.25</c:v>
                </c:pt>
                <c:pt idx="489">
                  <c:v>0.25</c:v>
                </c:pt>
                <c:pt idx="490">
                  <c:v>0.25</c:v>
                </c:pt>
                <c:pt idx="491">
                  <c:v>0.25</c:v>
                </c:pt>
                <c:pt idx="492">
                  <c:v>0.25</c:v>
                </c:pt>
                <c:pt idx="493">
                  <c:v>0.25</c:v>
                </c:pt>
                <c:pt idx="494">
                  <c:v>0.25</c:v>
                </c:pt>
                <c:pt idx="495">
                  <c:v>0.25</c:v>
                </c:pt>
                <c:pt idx="496">
                  <c:v>0.25</c:v>
                </c:pt>
                <c:pt idx="497">
                  <c:v>0.25</c:v>
                </c:pt>
                <c:pt idx="498">
                  <c:v>0.25</c:v>
                </c:pt>
                <c:pt idx="499">
                  <c:v>0.25</c:v>
                </c:pt>
                <c:pt idx="500">
                  <c:v>0.25</c:v>
                </c:pt>
                <c:pt idx="501">
                  <c:v>0.25</c:v>
                </c:pt>
                <c:pt idx="502">
                  <c:v>0.25</c:v>
                </c:pt>
                <c:pt idx="503">
                  <c:v>0.25</c:v>
                </c:pt>
                <c:pt idx="504">
                  <c:v>0.25</c:v>
                </c:pt>
                <c:pt idx="505">
                  <c:v>0.25</c:v>
                </c:pt>
                <c:pt idx="506">
                  <c:v>0.25</c:v>
                </c:pt>
                <c:pt idx="507">
                  <c:v>0.25</c:v>
                </c:pt>
                <c:pt idx="508">
                  <c:v>0.25</c:v>
                </c:pt>
                <c:pt idx="509">
                  <c:v>0.25</c:v>
                </c:pt>
                <c:pt idx="510">
                  <c:v>0.25</c:v>
                </c:pt>
                <c:pt idx="511">
                  <c:v>0.25</c:v>
                </c:pt>
                <c:pt idx="512">
                  <c:v>0.25</c:v>
                </c:pt>
                <c:pt idx="513">
                  <c:v>0.25</c:v>
                </c:pt>
                <c:pt idx="514">
                  <c:v>0.25</c:v>
                </c:pt>
                <c:pt idx="515">
                  <c:v>0.25</c:v>
                </c:pt>
                <c:pt idx="516">
                  <c:v>0.25</c:v>
                </c:pt>
                <c:pt idx="517">
                  <c:v>0.25</c:v>
                </c:pt>
                <c:pt idx="518">
                  <c:v>0.25</c:v>
                </c:pt>
                <c:pt idx="519">
                  <c:v>0.25</c:v>
                </c:pt>
                <c:pt idx="520">
                  <c:v>0.25</c:v>
                </c:pt>
                <c:pt idx="521">
                  <c:v>0.25</c:v>
                </c:pt>
                <c:pt idx="522">
                  <c:v>0.25</c:v>
                </c:pt>
                <c:pt idx="523">
                  <c:v>0.25</c:v>
                </c:pt>
                <c:pt idx="524">
                  <c:v>0.25</c:v>
                </c:pt>
                <c:pt idx="525">
                  <c:v>0.25</c:v>
                </c:pt>
                <c:pt idx="526">
                  <c:v>0.25</c:v>
                </c:pt>
                <c:pt idx="527">
                  <c:v>0.25</c:v>
                </c:pt>
                <c:pt idx="528">
                  <c:v>0.25</c:v>
                </c:pt>
                <c:pt idx="529">
                  <c:v>0.25</c:v>
                </c:pt>
                <c:pt idx="530">
                  <c:v>0.25</c:v>
                </c:pt>
                <c:pt idx="531">
                  <c:v>0.25</c:v>
                </c:pt>
                <c:pt idx="532">
                  <c:v>0.25</c:v>
                </c:pt>
                <c:pt idx="533">
                  <c:v>0.25</c:v>
                </c:pt>
                <c:pt idx="534">
                  <c:v>0.25</c:v>
                </c:pt>
                <c:pt idx="535">
                  <c:v>0.25</c:v>
                </c:pt>
                <c:pt idx="536">
                  <c:v>0.25</c:v>
                </c:pt>
                <c:pt idx="537">
                  <c:v>0.25</c:v>
                </c:pt>
                <c:pt idx="538">
                  <c:v>0.25</c:v>
                </c:pt>
                <c:pt idx="539">
                  <c:v>0.25</c:v>
                </c:pt>
                <c:pt idx="540">
                  <c:v>0.25</c:v>
                </c:pt>
                <c:pt idx="541">
                  <c:v>0.25</c:v>
                </c:pt>
                <c:pt idx="542">
                  <c:v>0.25</c:v>
                </c:pt>
                <c:pt idx="543">
                  <c:v>0.25</c:v>
                </c:pt>
                <c:pt idx="544">
                  <c:v>0.25</c:v>
                </c:pt>
                <c:pt idx="545">
                  <c:v>0.25</c:v>
                </c:pt>
                <c:pt idx="546">
                  <c:v>0.25</c:v>
                </c:pt>
                <c:pt idx="547">
                  <c:v>0.25</c:v>
                </c:pt>
                <c:pt idx="548">
                  <c:v>0.25</c:v>
                </c:pt>
                <c:pt idx="549">
                  <c:v>0.25</c:v>
                </c:pt>
                <c:pt idx="550">
                  <c:v>0.25</c:v>
                </c:pt>
                <c:pt idx="551">
                  <c:v>0.5</c:v>
                </c:pt>
                <c:pt idx="552">
                  <c:v>0.5</c:v>
                </c:pt>
                <c:pt idx="553">
                  <c:v>0.5</c:v>
                </c:pt>
                <c:pt idx="554">
                  <c:v>0.5</c:v>
                </c:pt>
                <c:pt idx="555">
                  <c:v>0.5</c:v>
                </c:pt>
                <c:pt idx="556">
                  <c:v>0.5</c:v>
                </c:pt>
                <c:pt idx="557">
                  <c:v>0.5</c:v>
                </c:pt>
                <c:pt idx="558">
                  <c:v>0.5</c:v>
                </c:pt>
                <c:pt idx="559">
                  <c:v>0.5</c:v>
                </c:pt>
                <c:pt idx="560">
                  <c:v>0.5</c:v>
                </c:pt>
                <c:pt idx="561">
                  <c:v>0.5</c:v>
                </c:pt>
                <c:pt idx="562">
                  <c:v>0.5</c:v>
                </c:pt>
                <c:pt idx="563">
                  <c:v>0.75</c:v>
                </c:pt>
                <c:pt idx="564">
                  <c:v>0.75</c:v>
                </c:pt>
                <c:pt idx="565">
                  <c:v>0.75</c:v>
                </c:pt>
                <c:pt idx="566">
                  <c:v>1</c:v>
                </c:pt>
                <c:pt idx="567">
                  <c:v>1</c:v>
                </c:pt>
                <c:pt idx="568">
                  <c:v>1</c:v>
                </c:pt>
                <c:pt idx="569">
                  <c:v>1.25</c:v>
                </c:pt>
                <c:pt idx="570">
                  <c:v>1.25</c:v>
                </c:pt>
                <c:pt idx="571">
                  <c:v>1.25</c:v>
                </c:pt>
                <c:pt idx="572">
                  <c:v>1.25</c:v>
                </c:pt>
                <c:pt idx="573">
                  <c:v>1.25</c:v>
                </c:pt>
                <c:pt idx="574">
                  <c:v>1.25</c:v>
                </c:pt>
                <c:pt idx="575">
                  <c:v>1.5</c:v>
                </c:pt>
                <c:pt idx="576">
                  <c:v>1.5</c:v>
                </c:pt>
                <c:pt idx="577">
                  <c:v>1.5</c:v>
                </c:pt>
                <c:pt idx="578">
                  <c:v>1.75</c:v>
                </c:pt>
                <c:pt idx="579">
                  <c:v>1.75</c:v>
                </c:pt>
                <c:pt idx="580">
                  <c:v>1.75</c:v>
                </c:pt>
                <c:pt idx="581">
                  <c:v>2</c:v>
                </c:pt>
                <c:pt idx="582">
                  <c:v>2</c:v>
                </c:pt>
                <c:pt idx="583">
                  <c:v>2</c:v>
                </c:pt>
                <c:pt idx="584">
                  <c:v>2</c:v>
                </c:pt>
                <c:pt idx="585">
                  <c:v>2.25</c:v>
                </c:pt>
                <c:pt idx="586">
                  <c:v>2.25</c:v>
                </c:pt>
                <c:pt idx="587">
                  <c:v>2.5</c:v>
                </c:pt>
                <c:pt idx="588">
                  <c:v>2.5</c:v>
                </c:pt>
                <c:pt idx="589">
                  <c:v>2.5</c:v>
                </c:pt>
                <c:pt idx="590">
                  <c:v>2.5</c:v>
                </c:pt>
                <c:pt idx="591">
                  <c:v>2.5</c:v>
                </c:pt>
                <c:pt idx="592">
                  <c:v>2.5</c:v>
                </c:pt>
                <c:pt idx="593">
                  <c:v>2.5</c:v>
                </c:pt>
                <c:pt idx="594">
                  <c:v>2.5</c:v>
                </c:pt>
                <c:pt idx="595">
                  <c:v>2.25</c:v>
                </c:pt>
                <c:pt idx="596">
                  <c:v>2</c:v>
                </c:pt>
                <c:pt idx="597">
                  <c:v>2</c:v>
                </c:pt>
                <c:pt idx="598">
                  <c:v>1.75</c:v>
                </c:pt>
                <c:pt idx="599">
                  <c:v>1.75</c:v>
                </c:pt>
                <c:pt idx="600">
                  <c:v>1.75</c:v>
                </c:pt>
                <c:pt idx="601">
                  <c:v>1.75</c:v>
                </c:pt>
                <c:pt idx="602">
                  <c:v>0.25</c:v>
                </c:pt>
                <c:pt idx="603">
                  <c:v>0.25</c:v>
                </c:pt>
                <c:pt idx="604">
                  <c:v>0.25</c:v>
                </c:pt>
                <c:pt idx="605">
                  <c:v>0.25</c:v>
                </c:pt>
                <c:pt idx="606">
                  <c:v>0.25</c:v>
                </c:pt>
                <c:pt idx="607">
                  <c:v>0.25</c:v>
                </c:pt>
                <c:pt idx="608">
                  <c:v>0.25</c:v>
                </c:pt>
                <c:pt idx="609">
                  <c:v>0.25</c:v>
                </c:pt>
                <c:pt idx="610">
                  <c:v>0.25</c:v>
                </c:pt>
                <c:pt idx="611">
                  <c:v>0.25</c:v>
                </c:pt>
                <c:pt idx="612">
                  <c:v>0.25</c:v>
                </c:pt>
                <c:pt idx="613">
                  <c:v>0.25</c:v>
                </c:pt>
                <c:pt idx="614">
                  <c:v>0.25</c:v>
                </c:pt>
                <c:pt idx="615">
                  <c:v>0.25</c:v>
                </c:pt>
                <c:pt idx="616">
                  <c:v>0.25</c:v>
                </c:pt>
                <c:pt idx="617">
                  <c:v>0.25</c:v>
                </c:pt>
                <c:pt idx="618">
                  <c:v>0.25</c:v>
                </c:pt>
                <c:pt idx="619">
                  <c:v>0.25</c:v>
                </c:pt>
                <c:pt idx="620">
                  <c:v>0.25</c:v>
                </c:pt>
                <c:pt idx="621">
                  <c:v>0.25</c:v>
                </c:pt>
                <c:pt idx="622">
                  <c:v>0.25</c:v>
                </c:pt>
                <c:pt idx="623">
                  <c:v>0.25</c:v>
                </c:pt>
                <c:pt idx="624">
                  <c:v>0.25</c:v>
                </c:pt>
                <c:pt idx="625">
                  <c:v>0.25</c:v>
                </c:pt>
                <c:pt idx="626">
                  <c:v>0.5</c:v>
                </c:pt>
                <c:pt idx="627">
                  <c:v>0.5</c:v>
                </c:pt>
                <c:pt idx="628">
                  <c:v>1</c:v>
                </c:pt>
                <c:pt idx="629">
                  <c:v>1.75</c:v>
                </c:pt>
                <c:pt idx="630">
                  <c:v>1.75</c:v>
                </c:pt>
                <c:pt idx="631">
                  <c:v>2.5</c:v>
                </c:pt>
                <c:pt idx="632">
                  <c:v>3.25</c:v>
                </c:pt>
                <c:pt idx="633">
                  <c:v>3.25</c:v>
                </c:pt>
                <c:pt idx="634">
                  <c:v>4</c:v>
                </c:pt>
                <c:pt idx="635">
                  <c:v>4.5</c:v>
                </c:pt>
                <c:pt idx="636">
                  <c:v>#N/A</c:v>
                </c:pt>
                <c:pt idx="637">
                  <c:v>#N/A</c:v>
                </c:pt>
                <c:pt idx="638">
                  <c:v>#N/A</c:v>
                </c:pt>
                <c:pt idx="639">
                  <c:v>#N/A</c:v>
                </c:pt>
                <c:pt idx="640">
                  <c:v>#N/A</c:v>
                </c:pt>
                <c:pt idx="641">
                  <c:v>#N/A</c:v>
                </c:pt>
                <c:pt idx="642">
                  <c:v>#N/A</c:v>
                </c:pt>
                <c:pt idx="643">
                  <c:v>#N/A</c:v>
                </c:pt>
                <c:pt idx="644">
                  <c:v>#N/A</c:v>
                </c:pt>
                <c:pt idx="645">
                  <c:v>#N/A</c:v>
                </c:pt>
                <c:pt idx="646">
                  <c:v>#N/A</c:v>
                </c:pt>
                <c:pt idx="647">
                  <c:v>#N/A</c:v>
                </c:pt>
              </c:numCache>
            </c:numRef>
          </c:val>
          <c:smooth val="0"/>
          <c:extLst>
            <c:ext xmlns:c16="http://schemas.microsoft.com/office/drawing/2014/chart" uri="{C3380CC4-5D6E-409C-BE32-E72D297353CC}">
              <c16:uniqueId val="{00000001-19FB-44E0-93AB-45826F6164BB}"/>
            </c:ext>
          </c:extLst>
        </c:ser>
        <c:dLbls>
          <c:showLegendKey val="0"/>
          <c:showVal val="0"/>
          <c:showCatName val="0"/>
          <c:showSerName val="0"/>
          <c:showPercent val="0"/>
          <c:showBubbleSize val="0"/>
        </c:dLbls>
        <c:smooth val="0"/>
        <c:axId val="468868480"/>
        <c:axId val="468894848"/>
      </c:lineChart>
      <c:dateAx>
        <c:axId val="468868480"/>
        <c:scaling>
          <c:orientation val="minMax"/>
        </c:scaling>
        <c:delete val="0"/>
        <c:axPos val="b"/>
        <c:numFmt formatCode="mmm/yy" sourceLinked="0"/>
        <c:majorTickMark val="out"/>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6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468894848"/>
        <c:crossesAt val="-1"/>
        <c:auto val="1"/>
        <c:lblOffset val="100"/>
        <c:baseTimeUnit val="months"/>
        <c:majorTimeUnit val="years"/>
        <c:minorUnit val="3"/>
        <c:minorTimeUnit val="months"/>
      </c:dateAx>
      <c:valAx>
        <c:axId val="46889484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0" spcFirstLastPara="1" vertOverflow="ellipsis" wrap="square" anchor="ctr" anchorCtr="1"/>
          <a:lstStyle/>
          <a:p>
            <a:pPr>
              <a:defRPr sz="16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468868480"/>
        <c:crosses val="autoZero"/>
        <c:crossBetween val="between"/>
        <c:majorUnit val="2"/>
      </c:valAx>
      <c:spPr>
        <a:noFill/>
        <a:ln w="28575">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sz="1600">
          <a:latin typeface="Amalia" panose="020B0504020203020204" pitchFamily="34" charset="0"/>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403413141502399E-2"/>
          <c:y val="4.2328681575544001E-2"/>
          <c:w val="0.82282133051110073"/>
          <c:h val="0.84484767195331756"/>
        </c:manualLayout>
      </c:layout>
      <c:areaChart>
        <c:grouping val="standard"/>
        <c:varyColors val="0"/>
        <c:ser>
          <c:idx val="2"/>
          <c:order val="2"/>
          <c:tx>
            <c:v>10J10J Renditedifferenz (rechte Skala)</c:v>
          </c:tx>
          <c:spPr>
            <a:solidFill>
              <a:schemeClr val="bg1">
                <a:lumMod val="85000"/>
              </a:schemeClr>
            </a:solidFill>
            <a:ln>
              <a:solidFill>
                <a:schemeClr val="bg1">
                  <a:lumMod val="65000"/>
                </a:schemeClr>
              </a:solidFill>
            </a:ln>
            <a:effectLst/>
          </c:spPr>
          <c:cat>
            <c:numRef>
              <c:f>'10y RAGB time series'!$A$790:$A$1317</c:f>
              <c:numCache>
                <c:formatCode>mm/dd/yyyy</c:formatCode>
                <c:ptCount val="528"/>
                <c:pt idx="0">
                  <c:v>44197</c:v>
                </c:pt>
                <c:pt idx="1">
                  <c:v>44200</c:v>
                </c:pt>
                <c:pt idx="2">
                  <c:v>44201</c:v>
                </c:pt>
                <c:pt idx="3">
                  <c:v>44202</c:v>
                </c:pt>
                <c:pt idx="4">
                  <c:v>44203</c:v>
                </c:pt>
                <c:pt idx="5">
                  <c:v>44204</c:v>
                </c:pt>
                <c:pt idx="6">
                  <c:v>44207</c:v>
                </c:pt>
                <c:pt idx="7">
                  <c:v>44208</c:v>
                </c:pt>
                <c:pt idx="8">
                  <c:v>44209</c:v>
                </c:pt>
                <c:pt idx="9">
                  <c:v>44210</c:v>
                </c:pt>
                <c:pt idx="10">
                  <c:v>44211</c:v>
                </c:pt>
                <c:pt idx="11">
                  <c:v>44214</c:v>
                </c:pt>
                <c:pt idx="12">
                  <c:v>44215</c:v>
                </c:pt>
                <c:pt idx="13">
                  <c:v>44216</c:v>
                </c:pt>
                <c:pt idx="14">
                  <c:v>44217</c:v>
                </c:pt>
                <c:pt idx="15">
                  <c:v>44218</c:v>
                </c:pt>
                <c:pt idx="16">
                  <c:v>44221</c:v>
                </c:pt>
                <c:pt idx="17">
                  <c:v>44222</c:v>
                </c:pt>
                <c:pt idx="18">
                  <c:v>44223</c:v>
                </c:pt>
                <c:pt idx="19">
                  <c:v>44224</c:v>
                </c:pt>
                <c:pt idx="20">
                  <c:v>44225</c:v>
                </c:pt>
                <c:pt idx="21">
                  <c:v>44228</c:v>
                </c:pt>
                <c:pt idx="22">
                  <c:v>44229</c:v>
                </c:pt>
                <c:pt idx="23">
                  <c:v>44230</c:v>
                </c:pt>
                <c:pt idx="24">
                  <c:v>44231</c:v>
                </c:pt>
                <c:pt idx="25">
                  <c:v>44232</c:v>
                </c:pt>
                <c:pt idx="26">
                  <c:v>44235</c:v>
                </c:pt>
                <c:pt idx="27">
                  <c:v>44236</c:v>
                </c:pt>
                <c:pt idx="28">
                  <c:v>44237</c:v>
                </c:pt>
                <c:pt idx="29">
                  <c:v>44238</c:v>
                </c:pt>
                <c:pt idx="30">
                  <c:v>44239</c:v>
                </c:pt>
                <c:pt idx="31">
                  <c:v>44242</c:v>
                </c:pt>
                <c:pt idx="32">
                  <c:v>44243</c:v>
                </c:pt>
                <c:pt idx="33">
                  <c:v>44244</c:v>
                </c:pt>
                <c:pt idx="34">
                  <c:v>44245</c:v>
                </c:pt>
                <c:pt idx="35">
                  <c:v>44246</c:v>
                </c:pt>
                <c:pt idx="36">
                  <c:v>44249</c:v>
                </c:pt>
                <c:pt idx="37">
                  <c:v>44250</c:v>
                </c:pt>
                <c:pt idx="38">
                  <c:v>44251</c:v>
                </c:pt>
                <c:pt idx="39">
                  <c:v>44252</c:v>
                </c:pt>
                <c:pt idx="40">
                  <c:v>44253</c:v>
                </c:pt>
                <c:pt idx="41">
                  <c:v>44256</c:v>
                </c:pt>
                <c:pt idx="42">
                  <c:v>44257</c:v>
                </c:pt>
                <c:pt idx="43">
                  <c:v>44258</c:v>
                </c:pt>
                <c:pt idx="44">
                  <c:v>44259</c:v>
                </c:pt>
                <c:pt idx="45">
                  <c:v>44260</c:v>
                </c:pt>
                <c:pt idx="46">
                  <c:v>44263</c:v>
                </c:pt>
                <c:pt idx="47">
                  <c:v>44264</c:v>
                </c:pt>
                <c:pt idx="48">
                  <c:v>44265</c:v>
                </c:pt>
                <c:pt idx="49">
                  <c:v>44266</c:v>
                </c:pt>
                <c:pt idx="50">
                  <c:v>44267</c:v>
                </c:pt>
                <c:pt idx="51">
                  <c:v>44270</c:v>
                </c:pt>
                <c:pt idx="52">
                  <c:v>44271</c:v>
                </c:pt>
                <c:pt idx="53">
                  <c:v>44272</c:v>
                </c:pt>
                <c:pt idx="54">
                  <c:v>44273</c:v>
                </c:pt>
                <c:pt idx="55">
                  <c:v>44274</c:v>
                </c:pt>
                <c:pt idx="56">
                  <c:v>44277</c:v>
                </c:pt>
                <c:pt idx="57">
                  <c:v>44278</c:v>
                </c:pt>
                <c:pt idx="58">
                  <c:v>44279</c:v>
                </c:pt>
                <c:pt idx="59">
                  <c:v>44280</c:v>
                </c:pt>
                <c:pt idx="60">
                  <c:v>44281</c:v>
                </c:pt>
                <c:pt idx="61">
                  <c:v>44284</c:v>
                </c:pt>
                <c:pt idx="62">
                  <c:v>44285</c:v>
                </c:pt>
                <c:pt idx="63">
                  <c:v>44286</c:v>
                </c:pt>
                <c:pt idx="64">
                  <c:v>44287</c:v>
                </c:pt>
                <c:pt idx="65">
                  <c:v>44288</c:v>
                </c:pt>
                <c:pt idx="66">
                  <c:v>44291</c:v>
                </c:pt>
                <c:pt idx="67">
                  <c:v>44292</c:v>
                </c:pt>
                <c:pt idx="68">
                  <c:v>44293</c:v>
                </c:pt>
                <c:pt idx="69">
                  <c:v>44294</c:v>
                </c:pt>
                <c:pt idx="70">
                  <c:v>44295</c:v>
                </c:pt>
                <c:pt idx="71">
                  <c:v>44298</c:v>
                </c:pt>
                <c:pt idx="72">
                  <c:v>44299</c:v>
                </c:pt>
                <c:pt idx="73">
                  <c:v>44300</c:v>
                </c:pt>
                <c:pt idx="74">
                  <c:v>44301</c:v>
                </c:pt>
                <c:pt idx="75">
                  <c:v>44302</c:v>
                </c:pt>
                <c:pt idx="76">
                  <c:v>44305</c:v>
                </c:pt>
                <c:pt idx="77">
                  <c:v>44306</c:v>
                </c:pt>
                <c:pt idx="78">
                  <c:v>44307</c:v>
                </c:pt>
                <c:pt idx="79">
                  <c:v>44308</c:v>
                </c:pt>
                <c:pt idx="80">
                  <c:v>44309</c:v>
                </c:pt>
                <c:pt idx="81">
                  <c:v>44312</c:v>
                </c:pt>
                <c:pt idx="82">
                  <c:v>44313</c:v>
                </c:pt>
                <c:pt idx="83">
                  <c:v>44314</c:v>
                </c:pt>
                <c:pt idx="84">
                  <c:v>44315</c:v>
                </c:pt>
                <c:pt idx="85">
                  <c:v>44316</c:v>
                </c:pt>
                <c:pt idx="86">
                  <c:v>44319</c:v>
                </c:pt>
                <c:pt idx="87">
                  <c:v>44320</c:v>
                </c:pt>
                <c:pt idx="88">
                  <c:v>44321</c:v>
                </c:pt>
                <c:pt idx="89">
                  <c:v>44322</c:v>
                </c:pt>
                <c:pt idx="90">
                  <c:v>44323</c:v>
                </c:pt>
                <c:pt idx="91">
                  <c:v>44326</c:v>
                </c:pt>
                <c:pt idx="92">
                  <c:v>44327</c:v>
                </c:pt>
                <c:pt idx="93">
                  <c:v>44328</c:v>
                </c:pt>
                <c:pt idx="94">
                  <c:v>44329</c:v>
                </c:pt>
                <c:pt idx="95">
                  <c:v>44330</c:v>
                </c:pt>
                <c:pt idx="96">
                  <c:v>44333</c:v>
                </c:pt>
                <c:pt idx="97">
                  <c:v>44334</c:v>
                </c:pt>
                <c:pt idx="98">
                  <c:v>44335</c:v>
                </c:pt>
                <c:pt idx="99">
                  <c:v>44336</c:v>
                </c:pt>
                <c:pt idx="100">
                  <c:v>44337</c:v>
                </c:pt>
                <c:pt idx="101">
                  <c:v>44340</c:v>
                </c:pt>
                <c:pt idx="102">
                  <c:v>44341</c:v>
                </c:pt>
                <c:pt idx="103">
                  <c:v>44342</c:v>
                </c:pt>
                <c:pt idx="104">
                  <c:v>44343</c:v>
                </c:pt>
                <c:pt idx="105">
                  <c:v>44344</c:v>
                </c:pt>
                <c:pt idx="106">
                  <c:v>44347</c:v>
                </c:pt>
                <c:pt idx="107">
                  <c:v>44348</c:v>
                </c:pt>
                <c:pt idx="108">
                  <c:v>44349</c:v>
                </c:pt>
                <c:pt idx="109">
                  <c:v>44350</c:v>
                </c:pt>
                <c:pt idx="110">
                  <c:v>44351</c:v>
                </c:pt>
                <c:pt idx="111">
                  <c:v>44354</c:v>
                </c:pt>
                <c:pt idx="112">
                  <c:v>44355</c:v>
                </c:pt>
                <c:pt idx="113">
                  <c:v>44356</c:v>
                </c:pt>
                <c:pt idx="114">
                  <c:v>44357</c:v>
                </c:pt>
                <c:pt idx="115">
                  <c:v>44358</c:v>
                </c:pt>
                <c:pt idx="116">
                  <c:v>44361</c:v>
                </c:pt>
                <c:pt idx="117">
                  <c:v>44362</c:v>
                </c:pt>
                <c:pt idx="118">
                  <c:v>44363</c:v>
                </c:pt>
                <c:pt idx="119">
                  <c:v>44364</c:v>
                </c:pt>
                <c:pt idx="120">
                  <c:v>44365</c:v>
                </c:pt>
                <c:pt idx="121">
                  <c:v>44368</c:v>
                </c:pt>
                <c:pt idx="122">
                  <c:v>44369</c:v>
                </c:pt>
                <c:pt idx="123">
                  <c:v>44370</c:v>
                </c:pt>
                <c:pt idx="124">
                  <c:v>44371</c:v>
                </c:pt>
                <c:pt idx="125">
                  <c:v>44372</c:v>
                </c:pt>
                <c:pt idx="126">
                  <c:v>44375</c:v>
                </c:pt>
                <c:pt idx="127">
                  <c:v>44376</c:v>
                </c:pt>
                <c:pt idx="128">
                  <c:v>44377</c:v>
                </c:pt>
                <c:pt idx="129">
                  <c:v>44378</c:v>
                </c:pt>
                <c:pt idx="130">
                  <c:v>44379</c:v>
                </c:pt>
                <c:pt idx="131">
                  <c:v>44382</c:v>
                </c:pt>
                <c:pt idx="132">
                  <c:v>44383</c:v>
                </c:pt>
                <c:pt idx="133">
                  <c:v>44384</c:v>
                </c:pt>
                <c:pt idx="134">
                  <c:v>44385</c:v>
                </c:pt>
                <c:pt idx="135">
                  <c:v>44386</c:v>
                </c:pt>
                <c:pt idx="136">
                  <c:v>44389</c:v>
                </c:pt>
                <c:pt idx="137">
                  <c:v>44390</c:v>
                </c:pt>
                <c:pt idx="138">
                  <c:v>44391</c:v>
                </c:pt>
                <c:pt idx="139">
                  <c:v>44392</c:v>
                </c:pt>
                <c:pt idx="140">
                  <c:v>44393</c:v>
                </c:pt>
                <c:pt idx="141">
                  <c:v>44396</c:v>
                </c:pt>
                <c:pt idx="142">
                  <c:v>44397</c:v>
                </c:pt>
                <c:pt idx="143">
                  <c:v>44398</c:v>
                </c:pt>
                <c:pt idx="144">
                  <c:v>44399</c:v>
                </c:pt>
                <c:pt idx="145">
                  <c:v>44400</c:v>
                </c:pt>
                <c:pt idx="146">
                  <c:v>44403</c:v>
                </c:pt>
                <c:pt idx="147">
                  <c:v>44404</c:v>
                </c:pt>
                <c:pt idx="148">
                  <c:v>44405</c:v>
                </c:pt>
                <c:pt idx="149">
                  <c:v>44406</c:v>
                </c:pt>
                <c:pt idx="150">
                  <c:v>44407</c:v>
                </c:pt>
                <c:pt idx="151">
                  <c:v>44410</c:v>
                </c:pt>
                <c:pt idx="152">
                  <c:v>44411</c:v>
                </c:pt>
                <c:pt idx="153">
                  <c:v>44412</c:v>
                </c:pt>
                <c:pt idx="154">
                  <c:v>44413</c:v>
                </c:pt>
                <c:pt idx="155">
                  <c:v>44414</c:v>
                </c:pt>
                <c:pt idx="156">
                  <c:v>44417</c:v>
                </c:pt>
                <c:pt idx="157">
                  <c:v>44418</c:v>
                </c:pt>
                <c:pt idx="158">
                  <c:v>44419</c:v>
                </c:pt>
                <c:pt idx="159">
                  <c:v>44420</c:v>
                </c:pt>
                <c:pt idx="160">
                  <c:v>44421</c:v>
                </c:pt>
                <c:pt idx="161">
                  <c:v>44424</c:v>
                </c:pt>
                <c:pt idx="162">
                  <c:v>44425</c:v>
                </c:pt>
                <c:pt idx="163">
                  <c:v>44426</c:v>
                </c:pt>
                <c:pt idx="164">
                  <c:v>44427</c:v>
                </c:pt>
                <c:pt idx="165">
                  <c:v>44428</c:v>
                </c:pt>
                <c:pt idx="166">
                  <c:v>44431</c:v>
                </c:pt>
                <c:pt idx="167">
                  <c:v>44432</c:v>
                </c:pt>
                <c:pt idx="168">
                  <c:v>44433</c:v>
                </c:pt>
                <c:pt idx="169">
                  <c:v>44434</c:v>
                </c:pt>
                <c:pt idx="170">
                  <c:v>44435</c:v>
                </c:pt>
                <c:pt idx="171">
                  <c:v>44438</c:v>
                </c:pt>
                <c:pt idx="172">
                  <c:v>44439</c:v>
                </c:pt>
                <c:pt idx="173">
                  <c:v>44440</c:v>
                </c:pt>
                <c:pt idx="174">
                  <c:v>44441</c:v>
                </c:pt>
                <c:pt idx="175">
                  <c:v>44442</c:v>
                </c:pt>
                <c:pt idx="176">
                  <c:v>44445</c:v>
                </c:pt>
                <c:pt idx="177">
                  <c:v>44446</c:v>
                </c:pt>
                <c:pt idx="178">
                  <c:v>44447</c:v>
                </c:pt>
                <c:pt idx="179">
                  <c:v>44448</c:v>
                </c:pt>
                <c:pt idx="180">
                  <c:v>44449</c:v>
                </c:pt>
                <c:pt idx="181">
                  <c:v>44452</c:v>
                </c:pt>
                <c:pt idx="182">
                  <c:v>44453</c:v>
                </c:pt>
                <c:pt idx="183">
                  <c:v>44454</c:v>
                </c:pt>
                <c:pt idx="184">
                  <c:v>44455</c:v>
                </c:pt>
                <c:pt idx="185">
                  <c:v>44456</c:v>
                </c:pt>
                <c:pt idx="186">
                  <c:v>44459</c:v>
                </c:pt>
                <c:pt idx="187">
                  <c:v>44460</c:v>
                </c:pt>
                <c:pt idx="188">
                  <c:v>44461</c:v>
                </c:pt>
                <c:pt idx="189">
                  <c:v>44462</c:v>
                </c:pt>
                <c:pt idx="190">
                  <c:v>44463</c:v>
                </c:pt>
                <c:pt idx="191">
                  <c:v>44466</c:v>
                </c:pt>
                <c:pt idx="192">
                  <c:v>44467</c:v>
                </c:pt>
                <c:pt idx="193">
                  <c:v>44468</c:v>
                </c:pt>
                <c:pt idx="194">
                  <c:v>44469</c:v>
                </c:pt>
                <c:pt idx="195">
                  <c:v>44470</c:v>
                </c:pt>
                <c:pt idx="196">
                  <c:v>44473</c:v>
                </c:pt>
                <c:pt idx="197">
                  <c:v>44474</c:v>
                </c:pt>
                <c:pt idx="198">
                  <c:v>44475</c:v>
                </c:pt>
                <c:pt idx="199">
                  <c:v>44476</c:v>
                </c:pt>
                <c:pt idx="200">
                  <c:v>44477</c:v>
                </c:pt>
                <c:pt idx="201">
                  <c:v>44480</c:v>
                </c:pt>
                <c:pt idx="202">
                  <c:v>44481</c:v>
                </c:pt>
                <c:pt idx="203">
                  <c:v>44482</c:v>
                </c:pt>
                <c:pt idx="204">
                  <c:v>44483</c:v>
                </c:pt>
                <c:pt idx="205">
                  <c:v>44484</c:v>
                </c:pt>
                <c:pt idx="206">
                  <c:v>44487</c:v>
                </c:pt>
                <c:pt idx="207">
                  <c:v>44488</c:v>
                </c:pt>
                <c:pt idx="208">
                  <c:v>44489</c:v>
                </c:pt>
                <c:pt idx="209">
                  <c:v>44490</c:v>
                </c:pt>
                <c:pt idx="210">
                  <c:v>44491</c:v>
                </c:pt>
                <c:pt idx="211">
                  <c:v>44494</c:v>
                </c:pt>
                <c:pt idx="212">
                  <c:v>44495</c:v>
                </c:pt>
                <c:pt idx="213">
                  <c:v>44496</c:v>
                </c:pt>
                <c:pt idx="214">
                  <c:v>44497</c:v>
                </c:pt>
                <c:pt idx="215">
                  <c:v>44498</c:v>
                </c:pt>
                <c:pt idx="216">
                  <c:v>44501</c:v>
                </c:pt>
                <c:pt idx="217">
                  <c:v>44502</c:v>
                </c:pt>
                <c:pt idx="218">
                  <c:v>44503</c:v>
                </c:pt>
                <c:pt idx="219">
                  <c:v>44504</c:v>
                </c:pt>
                <c:pt idx="220">
                  <c:v>44505</c:v>
                </c:pt>
                <c:pt idx="221">
                  <c:v>44508</c:v>
                </c:pt>
                <c:pt idx="222">
                  <c:v>44509</c:v>
                </c:pt>
                <c:pt idx="223">
                  <c:v>44510</c:v>
                </c:pt>
                <c:pt idx="224">
                  <c:v>44511</c:v>
                </c:pt>
                <c:pt idx="225">
                  <c:v>44512</c:v>
                </c:pt>
                <c:pt idx="226">
                  <c:v>44515</c:v>
                </c:pt>
                <c:pt idx="227">
                  <c:v>44516</c:v>
                </c:pt>
                <c:pt idx="228">
                  <c:v>44517</c:v>
                </c:pt>
                <c:pt idx="229">
                  <c:v>44518</c:v>
                </c:pt>
                <c:pt idx="230">
                  <c:v>44519</c:v>
                </c:pt>
                <c:pt idx="231">
                  <c:v>44522</c:v>
                </c:pt>
                <c:pt idx="232">
                  <c:v>44523</c:v>
                </c:pt>
                <c:pt idx="233">
                  <c:v>44524</c:v>
                </c:pt>
                <c:pt idx="234">
                  <c:v>44525</c:v>
                </c:pt>
                <c:pt idx="235">
                  <c:v>44526</c:v>
                </c:pt>
                <c:pt idx="236">
                  <c:v>44529</c:v>
                </c:pt>
                <c:pt idx="237">
                  <c:v>44530</c:v>
                </c:pt>
                <c:pt idx="238">
                  <c:v>44531</c:v>
                </c:pt>
                <c:pt idx="239">
                  <c:v>44532</c:v>
                </c:pt>
                <c:pt idx="240">
                  <c:v>44533</c:v>
                </c:pt>
                <c:pt idx="241">
                  <c:v>44536</c:v>
                </c:pt>
                <c:pt idx="242">
                  <c:v>44537</c:v>
                </c:pt>
                <c:pt idx="243">
                  <c:v>44538</c:v>
                </c:pt>
                <c:pt idx="244">
                  <c:v>44539</c:v>
                </c:pt>
                <c:pt idx="245">
                  <c:v>44540</c:v>
                </c:pt>
                <c:pt idx="246">
                  <c:v>44543</c:v>
                </c:pt>
                <c:pt idx="247">
                  <c:v>44544</c:v>
                </c:pt>
                <c:pt idx="248">
                  <c:v>44545</c:v>
                </c:pt>
                <c:pt idx="249">
                  <c:v>44546</c:v>
                </c:pt>
                <c:pt idx="250">
                  <c:v>44547</c:v>
                </c:pt>
                <c:pt idx="251">
                  <c:v>44550</c:v>
                </c:pt>
                <c:pt idx="252">
                  <c:v>44551</c:v>
                </c:pt>
                <c:pt idx="253">
                  <c:v>44552</c:v>
                </c:pt>
                <c:pt idx="254">
                  <c:v>44553</c:v>
                </c:pt>
                <c:pt idx="255">
                  <c:v>44554</c:v>
                </c:pt>
                <c:pt idx="256">
                  <c:v>44557</c:v>
                </c:pt>
                <c:pt idx="257">
                  <c:v>44558</c:v>
                </c:pt>
                <c:pt idx="258">
                  <c:v>44559</c:v>
                </c:pt>
                <c:pt idx="259">
                  <c:v>44560</c:v>
                </c:pt>
                <c:pt idx="260">
                  <c:v>44561</c:v>
                </c:pt>
                <c:pt idx="261">
                  <c:v>44564</c:v>
                </c:pt>
                <c:pt idx="262">
                  <c:v>44565</c:v>
                </c:pt>
                <c:pt idx="263">
                  <c:v>44566</c:v>
                </c:pt>
                <c:pt idx="264">
                  <c:v>44567</c:v>
                </c:pt>
                <c:pt idx="265">
                  <c:v>44568</c:v>
                </c:pt>
                <c:pt idx="266">
                  <c:v>44571</c:v>
                </c:pt>
                <c:pt idx="267">
                  <c:v>44572</c:v>
                </c:pt>
                <c:pt idx="268">
                  <c:v>44573</c:v>
                </c:pt>
                <c:pt idx="269">
                  <c:v>44574</c:v>
                </c:pt>
                <c:pt idx="270">
                  <c:v>44575</c:v>
                </c:pt>
                <c:pt idx="271">
                  <c:v>44578</c:v>
                </c:pt>
                <c:pt idx="272">
                  <c:v>44579</c:v>
                </c:pt>
                <c:pt idx="273">
                  <c:v>44580</c:v>
                </c:pt>
                <c:pt idx="274">
                  <c:v>44581</c:v>
                </c:pt>
                <c:pt idx="275">
                  <c:v>44582</c:v>
                </c:pt>
                <c:pt idx="276">
                  <c:v>44585</c:v>
                </c:pt>
                <c:pt idx="277">
                  <c:v>44586</c:v>
                </c:pt>
                <c:pt idx="278">
                  <c:v>44587</c:v>
                </c:pt>
                <c:pt idx="279">
                  <c:v>44588</c:v>
                </c:pt>
                <c:pt idx="280">
                  <c:v>44589</c:v>
                </c:pt>
                <c:pt idx="281">
                  <c:v>44592</c:v>
                </c:pt>
                <c:pt idx="282">
                  <c:v>44593</c:v>
                </c:pt>
                <c:pt idx="283">
                  <c:v>44594</c:v>
                </c:pt>
                <c:pt idx="284">
                  <c:v>44595</c:v>
                </c:pt>
                <c:pt idx="285">
                  <c:v>44596</c:v>
                </c:pt>
                <c:pt idx="286">
                  <c:v>44599</c:v>
                </c:pt>
                <c:pt idx="287">
                  <c:v>44600</c:v>
                </c:pt>
                <c:pt idx="288">
                  <c:v>44601</c:v>
                </c:pt>
                <c:pt idx="289">
                  <c:v>44602</c:v>
                </c:pt>
                <c:pt idx="290">
                  <c:v>44603</c:v>
                </c:pt>
                <c:pt idx="291">
                  <c:v>44606</c:v>
                </c:pt>
                <c:pt idx="292">
                  <c:v>44607</c:v>
                </c:pt>
                <c:pt idx="293">
                  <c:v>44608</c:v>
                </c:pt>
                <c:pt idx="294">
                  <c:v>44609</c:v>
                </c:pt>
                <c:pt idx="295">
                  <c:v>44610</c:v>
                </c:pt>
                <c:pt idx="296">
                  <c:v>44613</c:v>
                </c:pt>
                <c:pt idx="297">
                  <c:v>44614</c:v>
                </c:pt>
                <c:pt idx="298">
                  <c:v>44615</c:v>
                </c:pt>
                <c:pt idx="299">
                  <c:v>44616</c:v>
                </c:pt>
                <c:pt idx="300">
                  <c:v>44617</c:v>
                </c:pt>
                <c:pt idx="301">
                  <c:v>44620</c:v>
                </c:pt>
                <c:pt idx="302">
                  <c:v>44621</c:v>
                </c:pt>
                <c:pt idx="303">
                  <c:v>44622</c:v>
                </c:pt>
                <c:pt idx="304">
                  <c:v>44623</c:v>
                </c:pt>
                <c:pt idx="305">
                  <c:v>44624</c:v>
                </c:pt>
                <c:pt idx="306">
                  <c:v>44627</c:v>
                </c:pt>
                <c:pt idx="307">
                  <c:v>44628</c:v>
                </c:pt>
                <c:pt idx="308">
                  <c:v>44629</c:v>
                </c:pt>
                <c:pt idx="309">
                  <c:v>44630</c:v>
                </c:pt>
                <c:pt idx="310">
                  <c:v>44631</c:v>
                </c:pt>
                <c:pt idx="311">
                  <c:v>44634</c:v>
                </c:pt>
                <c:pt idx="312">
                  <c:v>44635</c:v>
                </c:pt>
                <c:pt idx="313">
                  <c:v>44636</c:v>
                </c:pt>
                <c:pt idx="314">
                  <c:v>44637</c:v>
                </c:pt>
                <c:pt idx="315">
                  <c:v>44638</c:v>
                </c:pt>
                <c:pt idx="316">
                  <c:v>44641</c:v>
                </c:pt>
                <c:pt idx="317">
                  <c:v>44642</c:v>
                </c:pt>
                <c:pt idx="318">
                  <c:v>44643</c:v>
                </c:pt>
                <c:pt idx="319">
                  <c:v>44644</c:v>
                </c:pt>
                <c:pt idx="320">
                  <c:v>44645</c:v>
                </c:pt>
                <c:pt idx="321">
                  <c:v>44648</c:v>
                </c:pt>
                <c:pt idx="322">
                  <c:v>44649</c:v>
                </c:pt>
                <c:pt idx="323">
                  <c:v>44650</c:v>
                </c:pt>
                <c:pt idx="324">
                  <c:v>44651</c:v>
                </c:pt>
                <c:pt idx="325">
                  <c:v>44652</c:v>
                </c:pt>
                <c:pt idx="326">
                  <c:v>44655</c:v>
                </c:pt>
                <c:pt idx="327">
                  <c:v>44656</c:v>
                </c:pt>
                <c:pt idx="328">
                  <c:v>44657</c:v>
                </c:pt>
                <c:pt idx="329">
                  <c:v>44658</c:v>
                </c:pt>
                <c:pt idx="330">
                  <c:v>44659</c:v>
                </c:pt>
                <c:pt idx="331">
                  <c:v>44662</c:v>
                </c:pt>
                <c:pt idx="332">
                  <c:v>44663</c:v>
                </c:pt>
                <c:pt idx="333">
                  <c:v>44664</c:v>
                </c:pt>
                <c:pt idx="334">
                  <c:v>44665</c:v>
                </c:pt>
                <c:pt idx="335">
                  <c:v>44666</c:v>
                </c:pt>
                <c:pt idx="336">
                  <c:v>44669</c:v>
                </c:pt>
                <c:pt idx="337">
                  <c:v>44670</c:v>
                </c:pt>
                <c:pt idx="338">
                  <c:v>44671</c:v>
                </c:pt>
                <c:pt idx="339">
                  <c:v>44672</c:v>
                </c:pt>
                <c:pt idx="340">
                  <c:v>44673</c:v>
                </c:pt>
                <c:pt idx="341">
                  <c:v>44676</c:v>
                </c:pt>
                <c:pt idx="342">
                  <c:v>44677</c:v>
                </c:pt>
                <c:pt idx="343">
                  <c:v>44678</c:v>
                </c:pt>
                <c:pt idx="344">
                  <c:v>44679</c:v>
                </c:pt>
                <c:pt idx="345">
                  <c:v>44680</c:v>
                </c:pt>
                <c:pt idx="346">
                  <c:v>44683</c:v>
                </c:pt>
                <c:pt idx="347">
                  <c:v>44684</c:v>
                </c:pt>
                <c:pt idx="348">
                  <c:v>44685</c:v>
                </c:pt>
                <c:pt idx="349">
                  <c:v>44686</c:v>
                </c:pt>
                <c:pt idx="350">
                  <c:v>44687</c:v>
                </c:pt>
                <c:pt idx="351">
                  <c:v>44690</c:v>
                </c:pt>
                <c:pt idx="352">
                  <c:v>44691</c:v>
                </c:pt>
                <c:pt idx="353">
                  <c:v>44692</c:v>
                </c:pt>
                <c:pt idx="354">
                  <c:v>44693</c:v>
                </c:pt>
                <c:pt idx="355">
                  <c:v>44694</c:v>
                </c:pt>
                <c:pt idx="356">
                  <c:v>44697</c:v>
                </c:pt>
                <c:pt idx="357">
                  <c:v>44698</c:v>
                </c:pt>
                <c:pt idx="358">
                  <c:v>44699</c:v>
                </c:pt>
                <c:pt idx="359">
                  <c:v>44700</c:v>
                </c:pt>
                <c:pt idx="360">
                  <c:v>44701</c:v>
                </c:pt>
                <c:pt idx="361">
                  <c:v>44704</c:v>
                </c:pt>
                <c:pt idx="362">
                  <c:v>44705</c:v>
                </c:pt>
                <c:pt idx="363">
                  <c:v>44706</c:v>
                </c:pt>
                <c:pt idx="364">
                  <c:v>44707</c:v>
                </c:pt>
                <c:pt idx="365">
                  <c:v>44708</c:v>
                </c:pt>
                <c:pt idx="366">
                  <c:v>44711</c:v>
                </c:pt>
                <c:pt idx="367">
                  <c:v>44712</c:v>
                </c:pt>
                <c:pt idx="368">
                  <c:v>44713</c:v>
                </c:pt>
                <c:pt idx="369">
                  <c:v>44714</c:v>
                </c:pt>
                <c:pt idx="370">
                  <c:v>44715</c:v>
                </c:pt>
                <c:pt idx="371">
                  <c:v>44718</c:v>
                </c:pt>
                <c:pt idx="372">
                  <c:v>44719</c:v>
                </c:pt>
                <c:pt idx="373">
                  <c:v>44720</c:v>
                </c:pt>
                <c:pt idx="374">
                  <c:v>44721</c:v>
                </c:pt>
                <c:pt idx="375">
                  <c:v>44722</c:v>
                </c:pt>
                <c:pt idx="376">
                  <c:v>44725</c:v>
                </c:pt>
                <c:pt idx="377">
                  <c:v>44726</c:v>
                </c:pt>
                <c:pt idx="378">
                  <c:v>44727</c:v>
                </c:pt>
                <c:pt idx="379">
                  <c:v>44728</c:v>
                </c:pt>
                <c:pt idx="380">
                  <c:v>44729</c:v>
                </c:pt>
                <c:pt idx="381">
                  <c:v>44732</c:v>
                </c:pt>
                <c:pt idx="382">
                  <c:v>44733</c:v>
                </c:pt>
                <c:pt idx="383">
                  <c:v>44734</c:v>
                </c:pt>
                <c:pt idx="384">
                  <c:v>44735</c:v>
                </c:pt>
                <c:pt idx="385">
                  <c:v>44736</c:v>
                </c:pt>
                <c:pt idx="386">
                  <c:v>44739</c:v>
                </c:pt>
                <c:pt idx="387">
                  <c:v>44740</c:v>
                </c:pt>
                <c:pt idx="388">
                  <c:v>44741</c:v>
                </c:pt>
                <c:pt idx="389">
                  <c:v>44742</c:v>
                </c:pt>
                <c:pt idx="390">
                  <c:v>44743</c:v>
                </c:pt>
                <c:pt idx="391">
                  <c:v>44746</c:v>
                </c:pt>
                <c:pt idx="392">
                  <c:v>44747</c:v>
                </c:pt>
                <c:pt idx="393">
                  <c:v>44748</c:v>
                </c:pt>
                <c:pt idx="394">
                  <c:v>44749</c:v>
                </c:pt>
                <c:pt idx="395">
                  <c:v>44750</c:v>
                </c:pt>
                <c:pt idx="396">
                  <c:v>44753</c:v>
                </c:pt>
                <c:pt idx="397">
                  <c:v>44754</c:v>
                </c:pt>
                <c:pt idx="398">
                  <c:v>44755</c:v>
                </c:pt>
                <c:pt idx="399">
                  <c:v>44756</c:v>
                </c:pt>
                <c:pt idx="400">
                  <c:v>44757</c:v>
                </c:pt>
                <c:pt idx="401">
                  <c:v>44760</c:v>
                </c:pt>
                <c:pt idx="402">
                  <c:v>44761</c:v>
                </c:pt>
                <c:pt idx="403">
                  <c:v>44762</c:v>
                </c:pt>
                <c:pt idx="404">
                  <c:v>44763</c:v>
                </c:pt>
                <c:pt idx="405">
                  <c:v>44764</c:v>
                </c:pt>
                <c:pt idx="406">
                  <c:v>44767</c:v>
                </c:pt>
                <c:pt idx="407">
                  <c:v>44768</c:v>
                </c:pt>
                <c:pt idx="408">
                  <c:v>44769</c:v>
                </c:pt>
                <c:pt idx="409">
                  <c:v>44770</c:v>
                </c:pt>
                <c:pt idx="410">
                  <c:v>44771</c:v>
                </c:pt>
                <c:pt idx="411">
                  <c:v>44774</c:v>
                </c:pt>
                <c:pt idx="412">
                  <c:v>44775</c:v>
                </c:pt>
                <c:pt idx="413">
                  <c:v>44776</c:v>
                </c:pt>
                <c:pt idx="414">
                  <c:v>44777</c:v>
                </c:pt>
                <c:pt idx="415">
                  <c:v>44778</c:v>
                </c:pt>
                <c:pt idx="416">
                  <c:v>44781</c:v>
                </c:pt>
                <c:pt idx="417">
                  <c:v>44782</c:v>
                </c:pt>
                <c:pt idx="418">
                  <c:v>44783</c:v>
                </c:pt>
                <c:pt idx="419">
                  <c:v>44784</c:v>
                </c:pt>
                <c:pt idx="420">
                  <c:v>44785</c:v>
                </c:pt>
                <c:pt idx="421">
                  <c:v>44788</c:v>
                </c:pt>
                <c:pt idx="422">
                  <c:v>44789</c:v>
                </c:pt>
                <c:pt idx="423">
                  <c:v>44790</c:v>
                </c:pt>
                <c:pt idx="424">
                  <c:v>44791</c:v>
                </c:pt>
                <c:pt idx="425">
                  <c:v>44792</c:v>
                </c:pt>
                <c:pt idx="426">
                  <c:v>44795</c:v>
                </c:pt>
                <c:pt idx="427">
                  <c:v>44796</c:v>
                </c:pt>
                <c:pt idx="428">
                  <c:v>44797</c:v>
                </c:pt>
                <c:pt idx="429">
                  <c:v>44798</c:v>
                </c:pt>
                <c:pt idx="430">
                  <c:v>44799</c:v>
                </c:pt>
                <c:pt idx="431">
                  <c:v>44802</c:v>
                </c:pt>
                <c:pt idx="432">
                  <c:v>44803</c:v>
                </c:pt>
                <c:pt idx="433">
                  <c:v>44804</c:v>
                </c:pt>
                <c:pt idx="434">
                  <c:v>44805</c:v>
                </c:pt>
                <c:pt idx="435">
                  <c:v>44806</c:v>
                </c:pt>
                <c:pt idx="436">
                  <c:v>44809</c:v>
                </c:pt>
                <c:pt idx="437">
                  <c:v>44810</c:v>
                </c:pt>
                <c:pt idx="438">
                  <c:v>44811</c:v>
                </c:pt>
                <c:pt idx="439">
                  <c:v>44812</c:v>
                </c:pt>
                <c:pt idx="440">
                  <c:v>44813</c:v>
                </c:pt>
                <c:pt idx="441">
                  <c:v>44816</c:v>
                </c:pt>
                <c:pt idx="442">
                  <c:v>44817</c:v>
                </c:pt>
                <c:pt idx="443">
                  <c:v>44818</c:v>
                </c:pt>
                <c:pt idx="444">
                  <c:v>44819</c:v>
                </c:pt>
                <c:pt idx="445">
                  <c:v>44820</c:v>
                </c:pt>
                <c:pt idx="446">
                  <c:v>44823</c:v>
                </c:pt>
                <c:pt idx="447">
                  <c:v>44824</c:v>
                </c:pt>
                <c:pt idx="448">
                  <c:v>44825</c:v>
                </c:pt>
                <c:pt idx="449">
                  <c:v>44826</c:v>
                </c:pt>
                <c:pt idx="450">
                  <c:v>44827</c:v>
                </c:pt>
                <c:pt idx="451">
                  <c:v>44830</c:v>
                </c:pt>
                <c:pt idx="452">
                  <c:v>44831</c:v>
                </c:pt>
                <c:pt idx="453">
                  <c:v>44832</c:v>
                </c:pt>
                <c:pt idx="454">
                  <c:v>44833</c:v>
                </c:pt>
                <c:pt idx="455">
                  <c:v>44834</c:v>
                </c:pt>
                <c:pt idx="456">
                  <c:v>44837</c:v>
                </c:pt>
                <c:pt idx="457">
                  <c:v>44838</c:v>
                </c:pt>
                <c:pt idx="458">
                  <c:v>44839</c:v>
                </c:pt>
                <c:pt idx="459">
                  <c:v>44840</c:v>
                </c:pt>
                <c:pt idx="460">
                  <c:v>44841</c:v>
                </c:pt>
                <c:pt idx="461">
                  <c:v>44844</c:v>
                </c:pt>
                <c:pt idx="462">
                  <c:v>44845</c:v>
                </c:pt>
                <c:pt idx="463">
                  <c:v>44846</c:v>
                </c:pt>
                <c:pt idx="464">
                  <c:v>44847</c:v>
                </c:pt>
                <c:pt idx="465">
                  <c:v>44848</c:v>
                </c:pt>
                <c:pt idx="466">
                  <c:v>44851</c:v>
                </c:pt>
                <c:pt idx="467">
                  <c:v>44852</c:v>
                </c:pt>
                <c:pt idx="468">
                  <c:v>44853</c:v>
                </c:pt>
                <c:pt idx="469">
                  <c:v>44854</c:v>
                </c:pt>
                <c:pt idx="470">
                  <c:v>44855</c:v>
                </c:pt>
                <c:pt idx="471">
                  <c:v>44858</c:v>
                </c:pt>
                <c:pt idx="472">
                  <c:v>44859</c:v>
                </c:pt>
                <c:pt idx="473">
                  <c:v>44860</c:v>
                </c:pt>
                <c:pt idx="474">
                  <c:v>44861</c:v>
                </c:pt>
                <c:pt idx="475">
                  <c:v>44862</c:v>
                </c:pt>
                <c:pt idx="476">
                  <c:v>44865</c:v>
                </c:pt>
                <c:pt idx="477">
                  <c:v>44866</c:v>
                </c:pt>
                <c:pt idx="478">
                  <c:v>44867</c:v>
                </c:pt>
                <c:pt idx="479">
                  <c:v>44868</c:v>
                </c:pt>
                <c:pt idx="480">
                  <c:v>44869</c:v>
                </c:pt>
                <c:pt idx="481">
                  <c:v>44872</c:v>
                </c:pt>
                <c:pt idx="482">
                  <c:v>44873</c:v>
                </c:pt>
                <c:pt idx="483">
                  <c:v>44874</c:v>
                </c:pt>
                <c:pt idx="484">
                  <c:v>44875</c:v>
                </c:pt>
                <c:pt idx="485">
                  <c:v>44876</c:v>
                </c:pt>
                <c:pt idx="486">
                  <c:v>44879</c:v>
                </c:pt>
                <c:pt idx="487">
                  <c:v>44880</c:v>
                </c:pt>
                <c:pt idx="488">
                  <c:v>44881</c:v>
                </c:pt>
                <c:pt idx="489">
                  <c:v>44882</c:v>
                </c:pt>
                <c:pt idx="490">
                  <c:v>44883</c:v>
                </c:pt>
                <c:pt idx="491">
                  <c:v>44886</c:v>
                </c:pt>
                <c:pt idx="492">
                  <c:v>44887</c:v>
                </c:pt>
                <c:pt idx="493">
                  <c:v>44888</c:v>
                </c:pt>
                <c:pt idx="494">
                  <c:v>44889</c:v>
                </c:pt>
                <c:pt idx="495">
                  <c:v>44890</c:v>
                </c:pt>
                <c:pt idx="496">
                  <c:v>44893</c:v>
                </c:pt>
                <c:pt idx="497">
                  <c:v>44894</c:v>
                </c:pt>
                <c:pt idx="498">
                  <c:v>44895</c:v>
                </c:pt>
                <c:pt idx="499">
                  <c:v>44896</c:v>
                </c:pt>
                <c:pt idx="500">
                  <c:v>44897</c:v>
                </c:pt>
                <c:pt idx="501">
                  <c:v>44900</c:v>
                </c:pt>
                <c:pt idx="502">
                  <c:v>44901</c:v>
                </c:pt>
                <c:pt idx="503">
                  <c:v>44902</c:v>
                </c:pt>
                <c:pt idx="504">
                  <c:v>44903</c:v>
                </c:pt>
                <c:pt idx="505">
                  <c:v>44904</c:v>
                </c:pt>
                <c:pt idx="506">
                  <c:v>44907</c:v>
                </c:pt>
                <c:pt idx="507">
                  <c:v>44908</c:v>
                </c:pt>
                <c:pt idx="508">
                  <c:v>44909</c:v>
                </c:pt>
                <c:pt idx="509">
                  <c:v>44910</c:v>
                </c:pt>
                <c:pt idx="510">
                  <c:v>44911</c:v>
                </c:pt>
                <c:pt idx="511">
                  <c:v>44914</c:v>
                </c:pt>
                <c:pt idx="512">
                  <c:v>44915</c:v>
                </c:pt>
                <c:pt idx="513">
                  <c:v>44916</c:v>
                </c:pt>
                <c:pt idx="514">
                  <c:v>44917</c:v>
                </c:pt>
                <c:pt idx="515">
                  <c:v>44918</c:v>
                </c:pt>
                <c:pt idx="516">
                  <c:v>44921</c:v>
                </c:pt>
                <c:pt idx="517">
                  <c:v>44922</c:v>
                </c:pt>
                <c:pt idx="518">
                  <c:v>44923</c:v>
                </c:pt>
                <c:pt idx="519">
                  <c:v>44924</c:v>
                </c:pt>
                <c:pt idx="520">
                  <c:v>44925</c:v>
                </c:pt>
                <c:pt idx="521">
                  <c:v>44928</c:v>
                </c:pt>
                <c:pt idx="522">
                  <c:v>44929</c:v>
                </c:pt>
                <c:pt idx="523">
                  <c:v>44930</c:v>
                </c:pt>
                <c:pt idx="524">
                  <c:v>44931</c:v>
                </c:pt>
                <c:pt idx="525">
                  <c:v>44932</c:v>
                </c:pt>
                <c:pt idx="526">
                  <c:v>44935</c:v>
                </c:pt>
                <c:pt idx="527">
                  <c:v>44936</c:v>
                </c:pt>
              </c:numCache>
            </c:numRef>
          </c:cat>
          <c:val>
            <c:numRef>
              <c:f>'10y RAGB time series'!$F$790:$F$1317</c:f>
              <c:numCache>
                <c:formatCode>General</c:formatCode>
                <c:ptCount val="528"/>
                <c:pt idx="0">
                  <c:v>13.899999999999995</c:v>
                </c:pt>
                <c:pt idx="1">
                  <c:v>14.199999999999996</c:v>
                </c:pt>
                <c:pt idx="2">
                  <c:v>14.899999999999997</c:v>
                </c:pt>
                <c:pt idx="3">
                  <c:v>11.400000000000004</c:v>
                </c:pt>
                <c:pt idx="4">
                  <c:v>11.400000000000004</c:v>
                </c:pt>
                <c:pt idx="5">
                  <c:v>10.600000000000003</c:v>
                </c:pt>
                <c:pt idx="6">
                  <c:v>10.499999999999998</c:v>
                </c:pt>
                <c:pt idx="7">
                  <c:v>11.299999999999999</c:v>
                </c:pt>
                <c:pt idx="8">
                  <c:v>11.799999999999999</c:v>
                </c:pt>
                <c:pt idx="9">
                  <c:v>12.200000000000005</c:v>
                </c:pt>
                <c:pt idx="10">
                  <c:v>12.800000000000006</c:v>
                </c:pt>
                <c:pt idx="11">
                  <c:v>12.9</c:v>
                </c:pt>
                <c:pt idx="12">
                  <c:v>12.4</c:v>
                </c:pt>
                <c:pt idx="13">
                  <c:v>12.9</c:v>
                </c:pt>
                <c:pt idx="14">
                  <c:v>13</c:v>
                </c:pt>
                <c:pt idx="15">
                  <c:v>13.700000000000001</c:v>
                </c:pt>
                <c:pt idx="16">
                  <c:v>13.500000000000007</c:v>
                </c:pt>
                <c:pt idx="17">
                  <c:v>13.900000000000002</c:v>
                </c:pt>
                <c:pt idx="18">
                  <c:v>14.000000000000007</c:v>
                </c:pt>
                <c:pt idx="19">
                  <c:v>14.200000000000001</c:v>
                </c:pt>
                <c:pt idx="20">
                  <c:v>13.3</c:v>
                </c:pt>
                <c:pt idx="21">
                  <c:v>13</c:v>
                </c:pt>
                <c:pt idx="22">
                  <c:v>12.8</c:v>
                </c:pt>
                <c:pt idx="23">
                  <c:v>12.9</c:v>
                </c:pt>
                <c:pt idx="24">
                  <c:v>12.5</c:v>
                </c:pt>
                <c:pt idx="25">
                  <c:v>12.5</c:v>
                </c:pt>
                <c:pt idx="26">
                  <c:v>12.1</c:v>
                </c:pt>
                <c:pt idx="27">
                  <c:v>12</c:v>
                </c:pt>
                <c:pt idx="28">
                  <c:v>12.5</c:v>
                </c:pt>
                <c:pt idx="29">
                  <c:v>19.600000000000001</c:v>
                </c:pt>
                <c:pt idx="30">
                  <c:v>19.899999999999999</c:v>
                </c:pt>
                <c:pt idx="31">
                  <c:v>20</c:v>
                </c:pt>
                <c:pt idx="32">
                  <c:v>20.299999999999997</c:v>
                </c:pt>
                <c:pt idx="33">
                  <c:v>21.8</c:v>
                </c:pt>
                <c:pt idx="34">
                  <c:v>22.599999999999998</c:v>
                </c:pt>
                <c:pt idx="35">
                  <c:v>22.599999999999998</c:v>
                </c:pt>
                <c:pt idx="36">
                  <c:v>22.300000000000004</c:v>
                </c:pt>
                <c:pt idx="37">
                  <c:v>23</c:v>
                </c:pt>
                <c:pt idx="38">
                  <c:v>23.799999999999997</c:v>
                </c:pt>
                <c:pt idx="39">
                  <c:v>23.400000000000002</c:v>
                </c:pt>
                <c:pt idx="40">
                  <c:v>22.2</c:v>
                </c:pt>
                <c:pt idx="41">
                  <c:v>20.400000000000002</c:v>
                </c:pt>
                <c:pt idx="42">
                  <c:v>21.599999999999998</c:v>
                </c:pt>
                <c:pt idx="43">
                  <c:v>21.9</c:v>
                </c:pt>
                <c:pt idx="44">
                  <c:v>21.6</c:v>
                </c:pt>
                <c:pt idx="45">
                  <c:v>21.9</c:v>
                </c:pt>
                <c:pt idx="46">
                  <c:v>22.1</c:v>
                </c:pt>
                <c:pt idx="47">
                  <c:v>21.999999999999996</c:v>
                </c:pt>
                <c:pt idx="48">
                  <c:v>24.3</c:v>
                </c:pt>
                <c:pt idx="49">
                  <c:v>21.900000000000002</c:v>
                </c:pt>
                <c:pt idx="50">
                  <c:v>21</c:v>
                </c:pt>
                <c:pt idx="51">
                  <c:v>21.000000000000004</c:v>
                </c:pt>
                <c:pt idx="52">
                  <c:v>22.200000000000003</c:v>
                </c:pt>
                <c:pt idx="53">
                  <c:v>22.099999999999998</c:v>
                </c:pt>
                <c:pt idx="54">
                  <c:v>21.900000000000002</c:v>
                </c:pt>
                <c:pt idx="55">
                  <c:v>21.699999999999996</c:v>
                </c:pt>
                <c:pt idx="56">
                  <c:v>22.1</c:v>
                </c:pt>
                <c:pt idx="57">
                  <c:v>22.300000000000004</c:v>
                </c:pt>
                <c:pt idx="58">
                  <c:v>22.7</c:v>
                </c:pt>
                <c:pt idx="59">
                  <c:v>22.7</c:v>
                </c:pt>
                <c:pt idx="60">
                  <c:v>22.499999999999996</c:v>
                </c:pt>
                <c:pt idx="61">
                  <c:v>22.400000000000002</c:v>
                </c:pt>
                <c:pt idx="62">
                  <c:v>21.9</c:v>
                </c:pt>
                <c:pt idx="63">
                  <c:v>21.599999999999998</c:v>
                </c:pt>
                <c:pt idx="64">
                  <c:v>21.700000000000003</c:v>
                </c:pt>
                <c:pt idx="65">
                  <c:v>21.700000000000003</c:v>
                </c:pt>
                <c:pt idx="66">
                  <c:v>21.700000000000003</c:v>
                </c:pt>
                <c:pt idx="67">
                  <c:v>21.9</c:v>
                </c:pt>
                <c:pt idx="68">
                  <c:v>22.400000000000002</c:v>
                </c:pt>
                <c:pt idx="69">
                  <c:v>22.300000000000004</c:v>
                </c:pt>
                <c:pt idx="70">
                  <c:v>22.4</c:v>
                </c:pt>
                <c:pt idx="71">
                  <c:v>22.499999999999996</c:v>
                </c:pt>
                <c:pt idx="72">
                  <c:v>22.799999999999997</c:v>
                </c:pt>
                <c:pt idx="73">
                  <c:v>22.3</c:v>
                </c:pt>
                <c:pt idx="74">
                  <c:v>22.599999999999998</c:v>
                </c:pt>
                <c:pt idx="75">
                  <c:v>22.5</c:v>
                </c:pt>
                <c:pt idx="76">
                  <c:v>21.9</c:v>
                </c:pt>
                <c:pt idx="77">
                  <c:v>21.900000000000002</c:v>
                </c:pt>
                <c:pt idx="78">
                  <c:v>22.000000000000004</c:v>
                </c:pt>
                <c:pt idx="79">
                  <c:v>21.9</c:v>
                </c:pt>
                <c:pt idx="80">
                  <c:v>22.1</c:v>
                </c:pt>
                <c:pt idx="81">
                  <c:v>22.3</c:v>
                </c:pt>
                <c:pt idx="82">
                  <c:v>22.400000000000002</c:v>
                </c:pt>
                <c:pt idx="83">
                  <c:v>22.8</c:v>
                </c:pt>
                <c:pt idx="84">
                  <c:v>22.5</c:v>
                </c:pt>
                <c:pt idx="85">
                  <c:v>22.8</c:v>
                </c:pt>
                <c:pt idx="86">
                  <c:v>22.7</c:v>
                </c:pt>
                <c:pt idx="87">
                  <c:v>22.9</c:v>
                </c:pt>
                <c:pt idx="88">
                  <c:v>22.6</c:v>
                </c:pt>
                <c:pt idx="89">
                  <c:v>22.900000000000002</c:v>
                </c:pt>
                <c:pt idx="90">
                  <c:v>24.099999999999998</c:v>
                </c:pt>
                <c:pt idx="91">
                  <c:v>24.5</c:v>
                </c:pt>
                <c:pt idx="92">
                  <c:v>23.599999999999998</c:v>
                </c:pt>
                <c:pt idx="93">
                  <c:v>23.7</c:v>
                </c:pt>
                <c:pt idx="94">
                  <c:v>24.5</c:v>
                </c:pt>
                <c:pt idx="95">
                  <c:v>25</c:v>
                </c:pt>
                <c:pt idx="96">
                  <c:v>26.200000000000003</c:v>
                </c:pt>
                <c:pt idx="97">
                  <c:v>25.8</c:v>
                </c:pt>
                <c:pt idx="98">
                  <c:v>25.900000000000002</c:v>
                </c:pt>
                <c:pt idx="99">
                  <c:v>23.5</c:v>
                </c:pt>
                <c:pt idx="100">
                  <c:v>23.299999999999997</c:v>
                </c:pt>
                <c:pt idx="101">
                  <c:v>23.2</c:v>
                </c:pt>
                <c:pt idx="102">
                  <c:v>22.900000000000002</c:v>
                </c:pt>
                <c:pt idx="103">
                  <c:v>23</c:v>
                </c:pt>
                <c:pt idx="104">
                  <c:v>22.499999999999996</c:v>
                </c:pt>
                <c:pt idx="105">
                  <c:v>22.599999999999998</c:v>
                </c:pt>
                <c:pt idx="106">
                  <c:v>22.6</c:v>
                </c:pt>
                <c:pt idx="107">
                  <c:v>22.4</c:v>
                </c:pt>
                <c:pt idx="108">
                  <c:v>22.5</c:v>
                </c:pt>
                <c:pt idx="109">
                  <c:v>22.6</c:v>
                </c:pt>
                <c:pt idx="110">
                  <c:v>23.099999999999998</c:v>
                </c:pt>
                <c:pt idx="111">
                  <c:v>23.5</c:v>
                </c:pt>
                <c:pt idx="112">
                  <c:v>23.3</c:v>
                </c:pt>
                <c:pt idx="113">
                  <c:v>23</c:v>
                </c:pt>
                <c:pt idx="114">
                  <c:v>22.900000000000002</c:v>
                </c:pt>
                <c:pt idx="115">
                  <c:v>23.200000000000003</c:v>
                </c:pt>
                <c:pt idx="116">
                  <c:v>23.3</c:v>
                </c:pt>
                <c:pt idx="117">
                  <c:v>23.400000000000002</c:v>
                </c:pt>
                <c:pt idx="118">
                  <c:v>23.5</c:v>
                </c:pt>
                <c:pt idx="119">
                  <c:v>20.5</c:v>
                </c:pt>
                <c:pt idx="120">
                  <c:v>21.500000000000004</c:v>
                </c:pt>
                <c:pt idx="121">
                  <c:v>20.8</c:v>
                </c:pt>
                <c:pt idx="122">
                  <c:v>19.900000000000002</c:v>
                </c:pt>
                <c:pt idx="123">
                  <c:v>19.899999999999999</c:v>
                </c:pt>
                <c:pt idx="124">
                  <c:v>19.900000000000002</c:v>
                </c:pt>
                <c:pt idx="125">
                  <c:v>20.7</c:v>
                </c:pt>
                <c:pt idx="126">
                  <c:v>21.099999999999998</c:v>
                </c:pt>
                <c:pt idx="127">
                  <c:v>20.700000000000003</c:v>
                </c:pt>
                <c:pt idx="128">
                  <c:v>20.399999999999999</c:v>
                </c:pt>
                <c:pt idx="129">
                  <c:v>19.7</c:v>
                </c:pt>
                <c:pt idx="130">
                  <c:v>19.599999999999998</c:v>
                </c:pt>
                <c:pt idx="131">
                  <c:v>19.600000000000001</c:v>
                </c:pt>
                <c:pt idx="132">
                  <c:v>19</c:v>
                </c:pt>
                <c:pt idx="133">
                  <c:v>19.2</c:v>
                </c:pt>
                <c:pt idx="134">
                  <c:v>20.400000000000002</c:v>
                </c:pt>
                <c:pt idx="135">
                  <c:v>20.5</c:v>
                </c:pt>
                <c:pt idx="136">
                  <c:v>20.299999999999997</c:v>
                </c:pt>
                <c:pt idx="137">
                  <c:v>19.7</c:v>
                </c:pt>
                <c:pt idx="138">
                  <c:v>19.900000000000002</c:v>
                </c:pt>
                <c:pt idx="139">
                  <c:v>20.6</c:v>
                </c:pt>
                <c:pt idx="140">
                  <c:v>20.5</c:v>
                </c:pt>
                <c:pt idx="141">
                  <c:v>21.7</c:v>
                </c:pt>
                <c:pt idx="142">
                  <c:v>22.499999999999996</c:v>
                </c:pt>
                <c:pt idx="143">
                  <c:v>22.5</c:v>
                </c:pt>
                <c:pt idx="144">
                  <c:v>22</c:v>
                </c:pt>
                <c:pt idx="145">
                  <c:v>21.7</c:v>
                </c:pt>
                <c:pt idx="146">
                  <c:v>22.7</c:v>
                </c:pt>
                <c:pt idx="147">
                  <c:v>23.200000000000003</c:v>
                </c:pt>
                <c:pt idx="148">
                  <c:v>23.900000000000002</c:v>
                </c:pt>
                <c:pt idx="149">
                  <c:v>23.900000000000002</c:v>
                </c:pt>
                <c:pt idx="150">
                  <c:v>23.8</c:v>
                </c:pt>
                <c:pt idx="151">
                  <c:v>22.799999999999997</c:v>
                </c:pt>
                <c:pt idx="152">
                  <c:v>22.9</c:v>
                </c:pt>
                <c:pt idx="153">
                  <c:v>23.599999999999998</c:v>
                </c:pt>
                <c:pt idx="154">
                  <c:v>23.599999999999998</c:v>
                </c:pt>
                <c:pt idx="155">
                  <c:v>22.3</c:v>
                </c:pt>
                <c:pt idx="156">
                  <c:v>22.500000000000004</c:v>
                </c:pt>
                <c:pt idx="157">
                  <c:v>22.300000000000004</c:v>
                </c:pt>
                <c:pt idx="158">
                  <c:v>22.500000000000004</c:v>
                </c:pt>
                <c:pt idx="159">
                  <c:v>22.300000000000004</c:v>
                </c:pt>
                <c:pt idx="160">
                  <c:v>22.300000000000004</c:v>
                </c:pt>
                <c:pt idx="161">
                  <c:v>22.7</c:v>
                </c:pt>
                <c:pt idx="162">
                  <c:v>22.9</c:v>
                </c:pt>
                <c:pt idx="163">
                  <c:v>22.9</c:v>
                </c:pt>
                <c:pt idx="164">
                  <c:v>23.099999999999998</c:v>
                </c:pt>
                <c:pt idx="165">
                  <c:v>23.099999999999998</c:v>
                </c:pt>
                <c:pt idx="166">
                  <c:v>23</c:v>
                </c:pt>
                <c:pt idx="167">
                  <c:v>23.099999999999998</c:v>
                </c:pt>
                <c:pt idx="168">
                  <c:v>23.099999999999998</c:v>
                </c:pt>
                <c:pt idx="169">
                  <c:v>23.2</c:v>
                </c:pt>
                <c:pt idx="170">
                  <c:v>23.099999999999998</c:v>
                </c:pt>
                <c:pt idx="171">
                  <c:v>23.1</c:v>
                </c:pt>
                <c:pt idx="172">
                  <c:v>22.7</c:v>
                </c:pt>
                <c:pt idx="173">
                  <c:v>22.5</c:v>
                </c:pt>
                <c:pt idx="174">
                  <c:v>22.6</c:v>
                </c:pt>
                <c:pt idx="175">
                  <c:v>22.2</c:v>
                </c:pt>
                <c:pt idx="176">
                  <c:v>22.1</c:v>
                </c:pt>
                <c:pt idx="177">
                  <c:v>22.6</c:v>
                </c:pt>
                <c:pt idx="178">
                  <c:v>22.5</c:v>
                </c:pt>
                <c:pt idx="179">
                  <c:v>21.2</c:v>
                </c:pt>
                <c:pt idx="180">
                  <c:v>21.3</c:v>
                </c:pt>
                <c:pt idx="181">
                  <c:v>21.6</c:v>
                </c:pt>
                <c:pt idx="182">
                  <c:v>21.500000000000004</c:v>
                </c:pt>
                <c:pt idx="183">
                  <c:v>21.7</c:v>
                </c:pt>
                <c:pt idx="184">
                  <c:v>21.5</c:v>
                </c:pt>
                <c:pt idx="185">
                  <c:v>21.200000000000003</c:v>
                </c:pt>
                <c:pt idx="186">
                  <c:v>21.800000000000004</c:v>
                </c:pt>
                <c:pt idx="187">
                  <c:v>21.9</c:v>
                </c:pt>
                <c:pt idx="188">
                  <c:v>22.000000000000004</c:v>
                </c:pt>
                <c:pt idx="189">
                  <c:v>21.500000000000004</c:v>
                </c:pt>
                <c:pt idx="190">
                  <c:v>21.6</c:v>
                </c:pt>
                <c:pt idx="191">
                  <c:v>21.8</c:v>
                </c:pt>
                <c:pt idx="192">
                  <c:v>22.6</c:v>
                </c:pt>
                <c:pt idx="193">
                  <c:v>22.5</c:v>
                </c:pt>
                <c:pt idx="194">
                  <c:v>21.8</c:v>
                </c:pt>
                <c:pt idx="195">
                  <c:v>22.3</c:v>
                </c:pt>
                <c:pt idx="196">
                  <c:v>22.5</c:v>
                </c:pt>
                <c:pt idx="197">
                  <c:v>22.1</c:v>
                </c:pt>
                <c:pt idx="198">
                  <c:v>22.3</c:v>
                </c:pt>
                <c:pt idx="199">
                  <c:v>22</c:v>
                </c:pt>
                <c:pt idx="200">
                  <c:v>21.7</c:v>
                </c:pt>
                <c:pt idx="201">
                  <c:v>21.9</c:v>
                </c:pt>
                <c:pt idx="202">
                  <c:v>21.4</c:v>
                </c:pt>
                <c:pt idx="203">
                  <c:v>21.7</c:v>
                </c:pt>
                <c:pt idx="204">
                  <c:v>21.8</c:v>
                </c:pt>
                <c:pt idx="205">
                  <c:v>21.900000000000002</c:v>
                </c:pt>
                <c:pt idx="206">
                  <c:v>21.8</c:v>
                </c:pt>
                <c:pt idx="207">
                  <c:v>22.2</c:v>
                </c:pt>
                <c:pt idx="208">
                  <c:v>22</c:v>
                </c:pt>
                <c:pt idx="209">
                  <c:v>22.7</c:v>
                </c:pt>
                <c:pt idx="210">
                  <c:v>22.499999999999996</c:v>
                </c:pt>
                <c:pt idx="211">
                  <c:v>22.400000000000002</c:v>
                </c:pt>
                <c:pt idx="212">
                  <c:v>22.4</c:v>
                </c:pt>
                <c:pt idx="213">
                  <c:v>23.299999999999997</c:v>
                </c:pt>
                <c:pt idx="214">
                  <c:v>23.8</c:v>
                </c:pt>
                <c:pt idx="215">
                  <c:v>25.2</c:v>
                </c:pt>
                <c:pt idx="216">
                  <c:v>24.7</c:v>
                </c:pt>
                <c:pt idx="217">
                  <c:v>23.5</c:v>
                </c:pt>
                <c:pt idx="218">
                  <c:v>23.1</c:v>
                </c:pt>
                <c:pt idx="219">
                  <c:v>22</c:v>
                </c:pt>
                <c:pt idx="220">
                  <c:v>21.999999999999996</c:v>
                </c:pt>
                <c:pt idx="221">
                  <c:v>21.8</c:v>
                </c:pt>
                <c:pt idx="222">
                  <c:v>21.799999999999997</c:v>
                </c:pt>
                <c:pt idx="223">
                  <c:v>22.5</c:v>
                </c:pt>
                <c:pt idx="224">
                  <c:v>22.2</c:v>
                </c:pt>
                <c:pt idx="225">
                  <c:v>22.2</c:v>
                </c:pt>
                <c:pt idx="226">
                  <c:v>21.9</c:v>
                </c:pt>
                <c:pt idx="227">
                  <c:v>22.2</c:v>
                </c:pt>
                <c:pt idx="228">
                  <c:v>23.099999999999998</c:v>
                </c:pt>
                <c:pt idx="229">
                  <c:v>23.400000000000006</c:v>
                </c:pt>
                <c:pt idx="230">
                  <c:v>24.599999999999998</c:v>
                </c:pt>
                <c:pt idx="231">
                  <c:v>25.2</c:v>
                </c:pt>
                <c:pt idx="232">
                  <c:v>26</c:v>
                </c:pt>
                <c:pt idx="233">
                  <c:v>26.1</c:v>
                </c:pt>
                <c:pt idx="234">
                  <c:v>25.5</c:v>
                </c:pt>
                <c:pt idx="235">
                  <c:v>26</c:v>
                </c:pt>
                <c:pt idx="236">
                  <c:v>26.1</c:v>
                </c:pt>
                <c:pt idx="237">
                  <c:v>25.6</c:v>
                </c:pt>
                <c:pt idx="238">
                  <c:v>25.8</c:v>
                </c:pt>
                <c:pt idx="239">
                  <c:v>26.400000000000002</c:v>
                </c:pt>
                <c:pt idx="240">
                  <c:v>25.7</c:v>
                </c:pt>
                <c:pt idx="241">
                  <c:v>25.6</c:v>
                </c:pt>
                <c:pt idx="242">
                  <c:v>25.3</c:v>
                </c:pt>
                <c:pt idx="243">
                  <c:v>25.5</c:v>
                </c:pt>
                <c:pt idx="244">
                  <c:v>25.7</c:v>
                </c:pt>
                <c:pt idx="245">
                  <c:v>25.2</c:v>
                </c:pt>
                <c:pt idx="246">
                  <c:v>25.4</c:v>
                </c:pt>
                <c:pt idx="247">
                  <c:v>25.2</c:v>
                </c:pt>
                <c:pt idx="248">
                  <c:v>25.4</c:v>
                </c:pt>
                <c:pt idx="249">
                  <c:v>25.6</c:v>
                </c:pt>
                <c:pt idx="250">
                  <c:v>26</c:v>
                </c:pt>
                <c:pt idx="251">
                  <c:v>25.7</c:v>
                </c:pt>
                <c:pt idx="252">
                  <c:v>26.200000000000003</c:v>
                </c:pt>
                <c:pt idx="253">
                  <c:v>26.3</c:v>
                </c:pt>
                <c:pt idx="254">
                  <c:v>26.6</c:v>
                </c:pt>
                <c:pt idx="255">
                  <c:v>26.5</c:v>
                </c:pt>
                <c:pt idx="256">
                  <c:v>26.8</c:v>
                </c:pt>
                <c:pt idx="257">
                  <c:v>26.3</c:v>
                </c:pt>
                <c:pt idx="258">
                  <c:v>26.700000000000003</c:v>
                </c:pt>
                <c:pt idx="259">
                  <c:v>25.4</c:v>
                </c:pt>
                <c:pt idx="260">
                  <c:v>25.4</c:v>
                </c:pt>
                <c:pt idx="261">
                  <c:v>25.6</c:v>
                </c:pt>
                <c:pt idx="262">
                  <c:v>25</c:v>
                </c:pt>
                <c:pt idx="263">
                  <c:v>20.9</c:v>
                </c:pt>
                <c:pt idx="264">
                  <c:v>21.4</c:v>
                </c:pt>
                <c:pt idx="265">
                  <c:v>21.500000000000004</c:v>
                </c:pt>
                <c:pt idx="266">
                  <c:v>21.4</c:v>
                </c:pt>
                <c:pt idx="267">
                  <c:v>21.9</c:v>
                </c:pt>
                <c:pt idx="268">
                  <c:v>22</c:v>
                </c:pt>
                <c:pt idx="269">
                  <c:v>21.8</c:v>
                </c:pt>
                <c:pt idx="270">
                  <c:v>21.999999999999996</c:v>
                </c:pt>
                <c:pt idx="271">
                  <c:v>22.1</c:v>
                </c:pt>
                <c:pt idx="272">
                  <c:v>22.599999999999998</c:v>
                </c:pt>
                <c:pt idx="273">
                  <c:v>23.1</c:v>
                </c:pt>
                <c:pt idx="274">
                  <c:v>23.4</c:v>
                </c:pt>
                <c:pt idx="275">
                  <c:v>23.8</c:v>
                </c:pt>
                <c:pt idx="276">
                  <c:v>24</c:v>
                </c:pt>
                <c:pt idx="277">
                  <c:v>24.099999999999998</c:v>
                </c:pt>
                <c:pt idx="278">
                  <c:v>24.2</c:v>
                </c:pt>
                <c:pt idx="279">
                  <c:v>24.3</c:v>
                </c:pt>
                <c:pt idx="280">
                  <c:v>24.3</c:v>
                </c:pt>
                <c:pt idx="281">
                  <c:v>24.2</c:v>
                </c:pt>
                <c:pt idx="282">
                  <c:v>24.400000000000002</c:v>
                </c:pt>
                <c:pt idx="283">
                  <c:v>24.000000000000004</c:v>
                </c:pt>
                <c:pt idx="284">
                  <c:v>26.400000000000002</c:v>
                </c:pt>
                <c:pt idx="285">
                  <c:v>28.9</c:v>
                </c:pt>
                <c:pt idx="286">
                  <c:v>29.800000000000004</c:v>
                </c:pt>
                <c:pt idx="287">
                  <c:v>29.700000000000003</c:v>
                </c:pt>
                <c:pt idx="288">
                  <c:v>29.300000000000004</c:v>
                </c:pt>
                <c:pt idx="289">
                  <c:v>30.899999999999995</c:v>
                </c:pt>
                <c:pt idx="290">
                  <c:v>32.300000000000004</c:v>
                </c:pt>
                <c:pt idx="291">
                  <c:v>32.9</c:v>
                </c:pt>
                <c:pt idx="292">
                  <c:v>33.300000000000004</c:v>
                </c:pt>
                <c:pt idx="293">
                  <c:v>32.999999999999993</c:v>
                </c:pt>
                <c:pt idx="294">
                  <c:v>32.400000000000006</c:v>
                </c:pt>
                <c:pt idx="295">
                  <c:v>32.9</c:v>
                </c:pt>
                <c:pt idx="296">
                  <c:v>34.400000000000006</c:v>
                </c:pt>
                <c:pt idx="297">
                  <c:v>34.199999999999996</c:v>
                </c:pt>
                <c:pt idx="298">
                  <c:v>34.9</c:v>
                </c:pt>
                <c:pt idx="299">
                  <c:v>36.6</c:v>
                </c:pt>
                <c:pt idx="300">
                  <c:v>34.699999999999996</c:v>
                </c:pt>
                <c:pt idx="301">
                  <c:v>36.199999999999996</c:v>
                </c:pt>
                <c:pt idx="302">
                  <c:v>35.700000000000003</c:v>
                </c:pt>
                <c:pt idx="303">
                  <c:v>37.799999999999997</c:v>
                </c:pt>
                <c:pt idx="304">
                  <c:v>39.699999999999996</c:v>
                </c:pt>
                <c:pt idx="305">
                  <c:v>42</c:v>
                </c:pt>
                <c:pt idx="306">
                  <c:v>41.800000000000004</c:v>
                </c:pt>
                <c:pt idx="307">
                  <c:v>38.299999999999997</c:v>
                </c:pt>
                <c:pt idx="308">
                  <c:v>37.9</c:v>
                </c:pt>
                <c:pt idx="309">
                  <c:v>40.1</c:v>
                </c:pt>
                <c:pt idx="310">
                  <c:v>40.900000000000006</c:v>
                </c:pt>
                <c:pt idx="311">
                  <c:v>40.300000000000004</c:v>
                </c:pt>
                <c:pt idx="312">
                  <c:v>39.499999999999993</c:v>
                </c:pt>
                <c:pt idx="313">
                  <c:v>38.800000000000004</c:v>
                </c:pt>
                <c:pt idx="314">
                  <c:v>38.1</c:v>
                </c:pt>
                <c:pt idx="315">
                  <c:v>37.6</c:v>
                </c:pt>
                <c:pt idx="316">
                  <c:v>37.499999999999993</c:v>
                </c:pt>
                <c:pt idx="317">
                  <c:v>37.200000000000003</c:v>
                </c:pt>
                <c:pt idx="318">
                  <c:v>34.300000000000004</c:v>
                </c:pt>
                <c:pt idx="319">
                  <c:v>34</c:v>
                </c:pt>
                <c:pt idx="320">
                  <c:v>33.100000000000009</c:v>
                </c:pt>
                <c:pt idx="321">
                  <c:v>31.600000000000005</c:v>
                </c:pt>
                <c:pt idx="322">
                  <c:v>32.4</c:v>
                </c:pt>
                <c:pt idx="323">
                  <c:v>34.9</c:v>
                </c:pt>
                <c:pt idx="324">
                  <c:v>44.499999999999993</c:v>
                </c:pt>
                <c:pt idx="325">
                  <c:v>46.399999999999984</c:v>
                </c:pt>
                <c:pt idx="326">
                  <c:v>48.8</c:v>
                </c:pt>
                <c:pt idx="327">
                  <c:v>51.1</c:v>
                </c:pt>
                <c:pt idx="328">
                  <c:v>50.499999999999986</c:v>
                </c:pt>
                <c:pt idx="329">
                  <c:v>50.899999999999991</c:v>
                </c:pt>
                <c:pt idx="330">
                  <c:v>52.6</c:v>
                </c:pt>
                <c:pt idx="331">
                  <c:v>49.1</c:v>
                </c:pt>
                <c:pt idx="332">
                  <c:v>48.499999999999986</c:v>
                </c:pt>
                <c:pt idx="333">
                  <c:v>48.899999999999991</c:v>
                </c:pt>
                <c:pt idx="334">
                  <c:v>49.100000000000009</c:v>
                </c:pt>
                <c:pt idx="335">
                  <c:v>49.100000000000009</c:v>
                </c:pt>
                <c:pt idx="336">
                  <c:v>49.100000000000009</c:v>
                </c:pt>
                <c:pt idx="337">
                  <c:v>46.400000000000006</c:v>
                </c:pt>
                <c:pt idx="338">
                  <c:v>46.099999999999994</c:v>
                </c:pt>
                <c:pt idx="339">
                  <c:v>45.000000000000007</c:v>
                </c:pt>
                <c:pt idx="340">
                  <c:v>45.3</c:v>
                </c:pt>
                <c:pt idx="341">
                  <c:v>45.599999999999994</c:v>
                </c:pt>
                <c:pt idx="342">
                  <c:v>46.8</c:v>
                </c:pt>
                <c:pt idx="343">
                  <c:v>47.699999999999996</c:v>
                </c:pt>
                <c:pt idx="344">
                  <c:v>48.599999999999987</c:v>
                </c:pt>
                <c:pt idx="345">
                  <c:v>48.29999999999999</c:v>
                </c:pt>
                <c:pt idx="346">
                  <c:v>49.400000000000013</c:v>
                </c:pt>
                <c:pt idx="347">
                  <c:v>51.000000000000014</c:v>
                </c:pt>
                <c:pt idx="348">
                  <c:v>51.1</c:v>
                </c:pt>
                <c:pt idx="349">
                  <c:v>50.499999999999986</c:v>
                </c:pt>
                <c:pt idx="350">
                  <c:v>50.6</c:v>
                </c:pt>
                <c:pt idx="351">
                  <c:v>52.2</c:v>
                </c:pt>
                <c:pt idx="352">
                  <c:v>51.29999999999999</c:v>
                </c:pt>
                <c:pt idx="353">
                  <c:v>50.000000000000014</c:v>
                </c:pt>
                <c:pt idx="354">
                  <c:v>51.6</c:v>
                </c:pt>
                <c:pt idx="355">
                  <c:v>51.4</c:v>
                </c:pt>
                <c:pt idx="356">
                  <c:v>51.4</c:v>
                </c:pt>
                <c:pt idx="357">
                  <c:v>51.100000000000009</c:v>
                </c:pt>
                <c:pt idx="358">
                  <c:v>51.100000000000009</c:v>
                </c:pt>
                <c:pt idx="359">
                  <c:v>52.000000000000014</c:v>
                </c:pt>
                <c:pt idx="360">
                  <c:v>53.900000000000006</c:v>
                </c:pt>
                <c:pt idx="361">
                  <c:v>55.499999999999993</c:v>
                </c:pt>
                <c:pt idx="362">
                  <c:v>56.100000000000009</c:v>
                </c:pt>
                <c:pt idx="363">
                  <c:v>55.199999999999996</c:v>
                </c:pt>
                <c:pt idx="364">
                  <c:v>54.6</c:v>
                </c:pt>
                <c:pt idx="365">
                  <c:v>54.6</c:v>
                </c:pt>
                <c:pt idx="366">
                  <c:v>54.500000000000014</c:v>
                </c:pt>
                <c:pt idx="367">
                  <c:v>54.59999999999998</c:v>
                </c:pt>
                <c:pt idx="368">
                  <c:v>55.000000000000007</c:v>
                </c:pt>
                <c:pt idx="369">
                  <c:v>55.2</c:v>
                </c:pt>
                <c:pt idx="370">
                  <c:v>54.899999999999991</c:v>
                </c:pt>
                <c:pt idx="371">
                  <c:v>53.500000000000014</c:v>
                </c:pt>
                <c:pt idx="372">
                  <c:v>52.400000000000006</c:v>
                </c:pt>
                <c:pt idx="373">
                  <c:v>51.6</c:v>
                </c:pt>
                <c:pt idx="374">
                  <c:v>52.6</c:v>
                </c:pt>
                <c:pt idx="375">
                  <c:v>54.799999999999983</c:v>
                </c:pt>
                <c:pt idx="376">
                  <c:v>61.600000000000009</c:v>
                </c:pt>
                <c:pt idx="377">
                  <c:v>61.20000000000001</c:v>
                </c:pt>
                <c:pt idx="378">
                  <c:v>57.700000000000017</c:v>
                </c:pt>
                <c:pt idx="379">
                  <c:v>56.300000000000018</c:v>
                </c:pt>
                <c:pt idx="380">
                  <c:v>54.999999999999986</c:v>
                </c:pt>
                <c:pt idx="381">
                  <c:v>55.399999999999984</c:v>
                </c:pt>
                <c:pt idx="382">
                  <c:v>55.500000000000014</c:v>
                </c:pt>
                <c:pt idx="383">
                  <c:v>54.499999999999993</c:v>
                </c:pt>
                <c:pt idx="384">
                  <c:v>54.2</c:v>
                </c:pt>
                <c:pt idx="385">
                  <c:v>53.400000000000006</c:v>
                </c:pt>
                <c:pt idx="386">
                  <c:v>53.900000000000013</c:v>
                </c:pt>
                <c:pt idx="387">
                  <c:v>54.699999999999974</c:v>
                </c:pt>
                <c:pt idx="388">
                  <c:v>54.600000000000023</c:v>
                </c:pt>
                <c:pt idx="389">
                  <c:v>56.600000000000009</c:v>
                </c:pt>
                <c:pt idx="390">
                  <c:v>55.999999999999986</c:v>
                </c:pt>
                <c:pt idx="391">
                  <c:v>56.3</c:v>
                </c:pt>
                <c:pt idx="392">
                  <c:v>60.199999999999989</c:v>
                </c:pt>
                <c:pt idx="393">
                  <c:v>55.59999999999998</c:v>
                </c:pt>
                <c:pt idx="394">
                  <c:v>55.600000000000009</c:v>
                </c:pt>
                <c:pt idx="395">
                  <c:v>55.3</c:v>
                </c:pt>
                <c:pt idx="396">
                  <c:v>55.099999999999994</c:v>
                </c:pt>
                <c:pt idx="397">
                  <c:v>54.499999999999993</c:v>
                </c:pt>
                <c:pt idx="398">
                  <c:v>54.6</c:v>
                </c:pt>
                <c:pt idx="399">
                  <c:v>55.2</c:v>
                </c:pt>
                <c:pt idx="400">
                  <c:v>55.699999999999996</c:v>
                </c:pt>
                <c:pt idx="401">
                  <c:v>55.499999999999993</c:v>
                </c:pt>
                <c:pt idx="402">
                  <c:v>53.2</c:v>
                </c:pt>
                <c:pt idx="403">
                  <c:v>52.6</c:v>
                </c:pt>
                <c:pt idx="404">
                  <c:v>54.2</c:v>
                </c:pt>
                <c:pt idx="405">
                  <c:v>53.500000000000014</c:v>
                </c:pt>
                <c:pt idx="406">
                  <c:v>53.800000000000004</c:v>
                </c:pt>
                <c:pt idx="407">
                  <c:v>53.900000000000006</c:v>
                </c:pt>
                <c:pt idx="408">
                  <c:v>53.600000000000016</c:v>
                </c:pt>
                <c:pt idx="409">
                  <c:v>53.700000000000017</c:v>
                </c:pt>
                <c:pt idx="410">
                  <c:v>52.1</c:v>
                </c:pt>
                <c:pt idx="411">
                  <c:v>52.2</c:v>
                </c:pt>
                <c:pt idx="412">
                  <c:v>54.900000000000006</c:v>
                </c:pt>
                <c:pt idx="413">
                  <c:v>54.699999999999996</c:v>
                </c:pt>
                <c:pt idx="414">
                  <c:v>53.800000000000004</c:v>
                </c:pt>
                <c:pt idx="415">
                  <c:v>53.300000000000011</c:v>
                </c:pt>
                <c:pt idx="416">
                  <c:v>54.29999999999999</c:v>
                </c:pt>
                <c:pt idx="417">
                  <c:v>52.499999999999993</c:v>
                </c:pt>
                <c:pt idx="418">
                  <c:v>53.5</c:v>
                </c:pt>
                <c:pt idx="419">
                  <c:v>54.1</c:v>
                </c:pt>
                <c:pt idx="420">
                  <c:v>53.199999999999989</c:v>
                </c:pt>
                <c:pt idx="421">
                  <c:v>53.499999999999993</c:v>
                </c:pt>
                <c:pt idx="422">
                  <c:v>53.79999999999999</c:v>
                </c:pt>
                <c:pt idx="423">
                  <c:v>54.699999999999996</c:v>
                </c:pt>
                <c:pt idx="424">
                  <c:v>55.800000000000004</c:v>
                </c:pt>
                <c:pt idx="425">
                  <c:v>56.699999999999996</c:v>
                </c:pt>
                <c:pt idx="426">
                  <c:v>57.600000000000009</c:v>
                </c:pt>
                <c:pt idx="427">
                  <c:v>59.199999999999989</c:v>
                </c:pt>
                <c:pt idx="428">
                  <c:v>60.3</c:v>
                </c:pt>
                <c:pt idx="429">
                  <c:v>60.9</c:v>
                </c:pt>
                <c:pt idx="430">
                  <c:v>62.600000000000009</c:v>
                </c:pt>
                <c:pt idx="431">
                  <c:v>62.699999999999974</c:v>
                </c:pt>
                <c:pt idx="432">
                  <c:v>62.299999999999976</c:v>
                </c:pt>
                <c:pt idx="433">
                  <c:v>62.300000000000026</c:v>
                </c:pt>
                <c:pt idx="434">
                  <c:v>62.3</c:v>
                </c:pt>
                <c:pt idx="435">
                  <c:v>62.1</c:v>
                </c:pt>
                <c:pt idx="436">
                  <c:v>64.000000000000014</c:v>
                </c:pt>
                <c:pt idx="437">
                  <c:v>62.5</c:v>
                </c:pt>
                <c:pt idx="438">
                  <c:v>62.1</c:v>
                </c:pt>
                <c:pt idx="439">
                  <c:v>60.100000000000023</c:v>
                </c:pt>
                <c:pt idx="440">
                  <c:v>60.199999999999989</c:v>
                </c:pt>
                <c:pt idx="441">
                  <c:v>60.099999999999994</c:v>
                </c:pt>
                <c:pt idx="442">
                  <c:v>60.700000000000017</c:v>
                </c:pt>
                <c:pt idx="443">
                  <c:v>61.5</c:v>
                </c:pt>
                <c:pt idx="444">
                  <c:v>61.899999999999977</c:v>
                </c:pt>
                <c:pt idx="445">
                  <c:v>60.199999999999989</c:v>
                </c:pt>
                <c:pt idx="446">
                  <c:v>59.899999999999977</c:v>
                </c:pt>
                <c:pt idx="447">
                  <c:v>58.999999999999986</c:v>
                </c:pt>
                <c:pt idx="448">
                  <c:v>59.999999999999986</c:v>
                </c:pt>
                <c:pt idx="449">
                  <c:v>59.699999999999974</c:v>
                </c:pt>
                <c:pt idx="450">
                  <c:v>59.699999999999996</c:v>
                </c:pt>
                <c:pt idx="451">
                  <c:v>61.3</c:v>
                </c:pt>
                <c:pt idx="452">
                  <c:v>61.7</c:v>
                </c:pt>
                <c:pt idx="453">
                  <c:v>64.399999999999963</c:v>
                </c:pt>
                <c:pt idx="454">
                  <c:v>66.000000000000014</c:v>
                </c:pt>
                <c:pt idx="455">
                  <c:v>70.000000000000014</c:v>
                </c:pt>
                <c:pt idx="456">
                  <c:v>70.09999999999998</c:v>
                </c:pt>
                <c:pt idx="457">
                  <c:v>67.09999999999998</c:v>
                </c:pt>
                <c:pt idx="458">
                  <c:v>67</c:v>
                </c:pt>
                <c:pt idx="459">
                  <c:v>66.800000000000011</c:v>
                </c:pt>
                <c:pt idx="460">
                  <c:v>68.700000000000031</c:v>
                </c:pt>
                <c:pt idx="461">
                  <c:v>68.899999999999963</c:v>
                </c:pt>
                <c:pt idx="462">
                  <c:v>72.599999999999994</c:v>
                </c:pt>
                <c:pt idx="463">
                  <c:v>71.8</c:v>
                </c:pt>
                <c:pt idx="464">
                  <c:v>69.499999999999986</c:v>
                </c:pt>
                <c:pt idx="465">
                  <c:v>71.09999999999998</c:v>
                </c:pt>
                <c:pt idx="466">
                  <c:v>71.7</c:v>
                </c:pt>
                <c:pt idx="467">
                  <c:v>70.900000000000006</c:v>
                </c:pt>
                <c:pt idx="468">
                  <c:v>72.000000000000014</c:v>
                </c:pt>
                <c:pt idx="469">
                  <c:v>71.300000000000011</c:v>
                </c:pt>
                <c:pt idx="470">
                  <c:v>70.900000000000006</c:v>
                </c:pt>
                <c:pt idx="471">
                  <c:v>70.599999999999994</c:v>
                </c:pt>
                <c:pt idx="472">
                  <c:v>72.2</c:v>
                </c:pt>
                <c:pt idx="473">
                  <c:v>71.399999999999991</c:v>
                </c:pt>
                <c:pt idx="474">
                  <c:v>68.399999999999977</c:v>
                </c:pt>
                <c:pt idx="475">
                  <c:v>66.499999999999957</c:v>
                </c:pt>
                <c:pt idx="476">
                  <c:v>66.600000000000037</c:v>
                </c:pt>
                <c:pt idx="477">
                  <c:v>69.8</c:v>
                </c:pt>
                <c:pt idx="478">
                  <c:v>68.000000000000014</c:v>
                </c:pt>
                <c:pt idx="479">
                  <c:v>67.8</c:v>
                </c:pt>
                <c:pt idx="480">
                  <c:v>67.80000000000004</c:v>
                </c:pt>
                <c:pt idx="481">
                  <c:v>66.499999999999957</c:v>
                </c:pt>
                <c:pt idx="482">
                  <c:v>63.79999999999999</c:v>
                </c:pt>
                <c:pt idx="483">
                  <c:v>63.400000000000034</c:v>
                </c:pt>
                <c:pt idx="484">
                  <c:v>63.500000000000021</c:v>
                </c:pt>
                <c:pt idx="485">
                  <c:v>59.600000000000009</c:v>
                </c:pt>
                <c:pt idx="486">
                  <c:v>59.600000000000009</c:v>
                </c:pt>
                <c:pt idx="487">
                  <c:v>59.699999999999996</c:v>
                </c:pt>
                <c:pt idx="488">
                  <c:v>58.399999999999984</c:v>
                </c:pt>
                <c:pt idx="489">
                  <c:v>57.799999999999983</c:v>
                </c:pt>
                <c:pt idx="490">
                  <c:v>58.100000000000037</c:v>
                </c:pt>
                <c:pt idx="491">
                  <c:v>58.099999999999973</c:v>
                </c:pt>
                <c:pt idx="492">
                  <c:v>56.099999999999994</c:v>
                </c:pt>
                <c:pt idx="493">
                  <c:v>56.600000000000009</c:v>
                </c:pt>
                <c:pt idx="494">
                  <c:v>56.099999999999994</c:v>
                </c:pt>
                <c:pt idx="495">
                  <c:v>57.2</c:v>
                </c:pt>
                <c:pt idx="496">
                  <c:v>58.3</c:v>
                </c:pt>
                <c:pt idx="497">
                  <c:v>58.600000000000009</c:v>
                </c:pt>
                <c:pt idx="498">
                  <c:v>59.5</c:v>
                </c:pt>
                <c:pt idx="499">
                  <c:v>58.999999999999986</c:v>
                </c:pt>
                <c:pt idx="500">
                  <c:v>58.9</c:v>
                </c:pt>
                <c:pt idx="501">
                  <c:v>58.699999999999996</c:v>
                </c:pt>
                <c:pt idx="502">
                  <c:v>59.099999999999973</c:v>
                </c:pt>
                <c:pt idx="503">
                  <c:v>59.699999999999996</c:v>
                </c:pt>
                <c:pt idx="504">
                  <c:v>59.3</c:v>
                </c:pt>
                <c:pt idx="505">
                  <c:v>59.500000000000021</c:v>
                </c:pt>
                <c:pt idx="506">
                  <c:v>59.3</c:v>
                </c:pt>
                <c:pt idx="507">
                  <c:v>59.399999999999984</c:v>
                </c:pt>
                <c:pt idx="508">
                  <c:v>59.399999999999984</c:v>
                </c:pt>
                <c:pt idx="509">
                  <c:v>60.200000000000031</c:v>
                </c:pt>
                <c:pt idx="510">
                  <c:v>61.899999999999977</c:v>
                </c:pt>
                <c:pt idx="511">
                  <c:v>61.400000000000034</c:v>
                </c:pt>
                <c:pt idx="512">
                  <c:v>61.600000000000009</c:v>
                </c:pt>
                <c:pt idx="513">
                  <c:v>60.700000000000017</c:v>
                </c:pt>
                <c:pt idx="514">
                  <c:v>60.5</c:v>
                </c:pt>
                <c:pt idx="515">
                  <c:v>54.500000000000036</c:v>
                </c:pt>
                <c:pt idx="516">
                  <c:v>54.500000000000036</c:v>
                </c:pt>
                <c:pt idx="517">
                  <c:v>60.500000000000043</c:v>
                </c:pt>
                <c:pt idx="518">
                  <c:v>61.199999999999967</c:v>
                </c:pt>
                <c:pt idx="519">
                  <c:v>61.100000000000023</c:v>
                </c:pt>
                <c:pt idx="520">
                  <c:v>60.5</c:v>
                </c:pt>
                <c:pt idx="521">
                  <c:v>60.9</c:v>
                </c:pt>
                <c:pt idx="522">
                  <c:v>62.700000000000024</c:v>
                </c:pt>
                <c:pt idx="523">
                  <c:v>59.600000000000009</c:v>
                </c:pt>
                <c:pt idx="524">
                  <c:v>60.099999999999994</c:v>
                </c:pt>
                <c:pt idx="525">
                  <c:v>60.099999999999994</c:v>
                </c:pt>
                <c:pt idx="526">
                  <c:v>60.5</c:v>
                </c:pt>
                <c:pt idx="527">
                  <c:v>60.500000000000043</c:v>
                </c:pt>
              </c:numCache>
            </c:numRef>
          </c:val>
          <c:extLst>
            <c:ext xmlns:c16="http://schemas.microsoft.com/office/drawing/2014/chart" uri="{C3380CC4-5D6E-409C-BE32-E72D297353CC}">
              <c16:uniqueId val="{00000000-B517-4AE2-8579-2E259B148CE8}"/>
            </c:ext>
          </c:extLst>
        </c:ser>
        <c:dLbls>
          <c:showLegendKey val="0"/>
          <c:showVal val="0"/>
          <c:showCatName val="0"/>
          <c:showSerName val="0"/>
          <c:showPercent val="0"/>
          <c:showBubbleSize val="0"/>
        </c:dLbls>
        <c:axId val="1285152480"/>
        <c:axId val="1285150840"/>
      </c:areaChart>
      <c:lineChart>
        <c:grouping val="standard"/>
        <c:varyColors val="0"/>
        <c:ser>
          <c:idx val="0"/>
          <c:order val="0"/>
          <c:tx>
            <c:v>10J RAGB Rendite (mid)</c:v>
          </c:tx>
          <c:spPr>
            <a:ln w="28575" cap="rnd">
              <a:solidFill>
                <a:schemeClr val="accent1"/>
              </a:solidFill>
              <a:round/>
            </a:ln>
            <a:effectLst/>
          </c:spPr>
          <c:marker>
            <c:symbol val="none"/>
          </c:marker>
          <c:cat>
            <c:numRef>
              <c:f>'10y RAGB time series'!$A$791:$A$1317</c:f>
              <c:numCache>
                <c:formatCode>mm/dd/yyyy</c:formatCode>
                <c:ptCount val="527"/>
                <c:pt idx="0">
                  <c:v>44200</c:v>
                </c:pt>
                <c:pt idx="1">
                  <c:v>44201</c:v>
                </c:pt>
                <c:pt idx="2">
                  <c:v>44202</c:v>
                </c:pt>
                <c:pt idx="3">
                  <c:v>44203</c:v>
                </c:pt>
                <c:pt idx="4">
                  <c:v>44204</c:v>
                </c:pt>
                <c:pt idx="5">
                  <c:v>44207</c:v>
                </c:pt>
                <c:pt idx="6">
                  <c:v>44208</c:v>
                </c:pt>
                <c:pt idx="7">
                  <c:v>44209</c:v>
                </c:pt>
                <c:pt idx="8">
                  <c:v>44210</c:v>
                </c:pt>
                <c:pt idx="9">
                  <c:v>44211</c:v>
                </c:pt>
                <c:pt idx="10">
                  <c:v>44214</c:v>
                </c:pt>
                <c:pt idx="11">
                  <c:v>44215</c:v>
                </c:pt>
                <c:pt idx="12">
                  <c:v>44216</c:v>
                </c:pt>
                <c:pt idx="13">
                  <c:v>44217</c:v>
                </c:pt>
                <c:pt idx="14">
                  <c:v>44218</c:v>
                </c:pt>
                <c:pt idx="15">
                  <c:v>44221</c:v>
                </c:pt>
                <c:pt idx="16">
                  <c:v>44222</c:v>
                </c:pt>
                <c:pt idx="17">
                  <c:v>44223</c:v>
                </c:pt>
                <c:pt idx="18">
                  <c:v>44224</c:v>
                </c:pt>
                <c:pt idx="19">
                  <c:v>44225</c:v>
                </c:pt>
                <c:pt idx="20">
                  <c:v>44228</c:v>
                </c:pt>
                <c:pt idx="21">
                  <c:v>44229</c:v>
                </c:pt>
                <c:pt idx="22">
                  <c:v>44230</c:v>
                </c:pt>
                <c:pt idx="23">
                  <c:v>44231</c:v>
                </c:pt>
                <c:pt idx="24">
                  <c:v>44232</c:v>
                </c:pt>
                <c:pt idx="25">
                  <c:v>44235</c:v>
                </c:pt>
                <c:pt idx="26">
                  <c:v>44236</c:v>
                </c:pt>
                <c:pt idx="27">
                  <c:v>44237</c:v>
                </c:pt>
                <c:pt idx="28">
                  <c:v>44238</c:v>
                </c:pt>
                <c:pt idx="29">
                  <c:v>44239</c:v>
                </c:pt>
                <c:pt idx="30">
                  <c:v>44242</c:v>
                </c:pt>
                <c:pt idx="31">
                  <c:v>44243</c:v>
                </c:pt>
                <c:pt idx="32">
                  <c:v>44244</c:v>
                </c:pt>
                <c:pt idx="33">
                  <c:v>44245</c:v>
                </c:pt>
                <c:pt idx="34">
                  <c:v>44246</c:v>
                </c:pt>
                <c:pt idx="35">
                  <c:v>44249</c:v>
                </c:pt>
                <c:pt idx="36">
                  <c:v>44250</c:v>
                </c:pt>
                <c:pt idx="37">
                  <c:v>44251</c:v>
                </c:pt>
                <c:pt idx="38">
                  <c:v>44252</c:v>
                </c:pt>
                <c:pt idx="39">
                  <c:v>44253</c:v>
                </c:pt>
                <c:pt idx="40">
                  <c:v>44256</c:v>
                </c:pt>
                <c:pt idx="41">
                  <c:v>44257</c:v>
                </c:pt>
                <c:pt idx="42">
                  <c:v>44258</c:v>
                </c:pt>
                <c:pt idx="43">
                  <c:v>44259</c:v>
                </c:pt>
                <c:pt idx="44">
                  <c:v>44260</c:v>
                </c:pt>
                <c:pt idx="45">
                  <c:v>44263</c:v>
                </c:pt>
                <c:pt idx="46">
                  <c:v>44264</c:v>
                </c:pt>
                <c:pt idx="47">
                  <c:v>44265</c:v>
                </c:pt>
                <c:pt idx="48">
                  <c:v>44266</c:v>
                </c:pt>
                <c:pt idx="49">
                  <c:v>44267</c:v>
                </c:pt>
                <c:pt idx="50">
                  <c:v>44270</c:v>
                </c:pt>
                <c:pt idx="51">
                  <c:v>44271</c:v>
                </c:pt>
                <c:pt idx="52">
                  <c:v>44272</c:v>
                </c:pt>
                <c:pt idx="53">
                  <c:v>44273</c:v>
                </c:pt>
                <c:pt idx="54">
                  <c:v>44274</c:v>
                </c:pt>
                <c:pt idx="55">
                  <c:v>44277</c:v>
                </c:pt>
                <c:pt idx="56">
                  <c:v>44278</c:v>
                </c:pt>
                <c:pt idx="57">
                  <c:v>44279</c:v>
                </c:pt>
                <c:pt idx="58">
                  <c:v>44280</c:v>
                </c:pt>
                <c:pt idx="59">
                  <c:v>44281</c:v>
                </c:pt>
                <c:pt idx="60">
                  <c:v>44284</c:v>
                </c:pt>
                <c:pt idx="61">
                  <c:v>44285</c:v>
                </c:pt>
                <c:pt idx="62">
                  <c:v>44286</c:v>
                </c:pt>
                <c:pt idx="63">
                  <c:v>44287</c:v>
                </c:pt>
                <c:pt idx="64">
                  <c:v>44288</c:v>
                </c:pt>
                <c:pt idx="65">
                  <c:v>44291</c:v>
                </c:pt>
                <c:pt idx="66">
                  <c:v>44292</c:v>
                </c:pt>
                <c:pt idx="67">
                  <c:v>44293</c:v>
                </c:pt>
                <c:pt idx="68">
                  <c:v>44294</c:v>
                </c:pt>
                <c:pt idx="69">
                  <c:v>44295</c:v>
                </c:pt>
                <c:pt idx="70">
                  <c:v>44298</c:v>
                </c:pt>
                <c:pt idx="71">
                  <c:v>44299</c:v>
                </c:pt>
                <c:pt idx="72">
                  <c:v>44300</c:v>
                </c:pt>
                <c:pt idx="73">
                  <c:v>44301</c:v>
                </c:pt>
                <c:pt idx="74">
                  <c:v>44302</c:v>
                </c:pt>
                <c:pt idx="75">
                  <c:v>44305</c:v>
                </c:pt>
                <c:pt idx="76">
                  <c:v>44306</c:v>
                </c:pt>
                <c:pt idx="77">
                  <c:v>44307</c:v>
                </c:pt>
                <c:pt idx="78">
                  <c:v>44308</c:v>
                </c:pt>
                <c:pt idx="79">
                  <c:v>44309</c:v>
                </c:pt>
                <c:pt idx="80">
                  <c:v>44312</c:v>
                </c:pt>
                <c:pt idx="81">
                  <c:v>44313</c:v>
                </c:pt>
                <c:pt idx="82">
                  <c:v>44314</c:v>
                </c:pt>
                <c:pt idx="83">
                  <c:v>44315</c:v>
                </c:pt>
                <c:pt idx="84">
                  <c:v>44316</c:v>
                </c:pt>
                <c:pt idx="85">
                  <c:v>44319</c:v>
                </c:pt>
                <c:pt idx="86">
                  <c:v>44320</c:v>
                </c:pt>
                <c:pt idx="87">
                  <c:v>44321</c:v>
                </c:pt>
                <c:pt idx="88">
                  <c:v>44322</c:v>
                </c:pt>
                <c:pt idx="89">
                  <c:v>44323</c:v>
                </c:pt>
                <c:pt idx="90">
                  <c:v>44326</c:v>
                </c:pt>
                <c:pt idx="91">
                  <c:v>44327</c:v>
                </c:pt>
                <c:pt idx="92">
                  <c:v>44328</c:v>
                </c:pt>
                <c:pt idx="93">
                  <c:v>44329</c:v>
                </c:pt>
                <c:pt idx="94">
                  <c:v>44330</c:v>
                </c:pt>
                <c:pt idx="95">
                  <c:v>44333</c:v>
                </c:pt>
                <c:pt idx="96">
                  <c:v>44334</c:v>
                </c:pt>
                <c:pt idx="97">
                  <c:v>44335</c:v>
                </c:pt>
                <c:pt idx="98">
                  <c:v>44336</c:v>
                </c:pt>
                <c:pt idx="99">
                  <c:v>44337</c:v>
                </c:pt>
                <c:pt idx="100">
                  <c:v>44340</c:v>
                </c:pt>
                <c:pt idx="101">
                  <c:v>44341</c:v>
                </c:pt>
                <c:pt idx="102">
                  <c:v>44342</c:v>
                </c:pt>
                <c:pt idx="103">
                  <c:v>44343</c:v>
                </c:pt>
                <c:pt idx="104">
                  <c:v>44344</c:v>
                </c:pt>
                <c:pt idx="105">
                  <c:v>44347</c:v>
                </c:pt>
                <c:pt idx="106">
                  <c:v>44348</c:v>
                </c:pt>
                <c:pt idx="107">
                  <c:v>44349</c:v>
                </c:pt>
                <c:pt idx="108">
                  <c:v>44350</c:v>
                </c:pt>
                <c:pt idx="109">
                  <c:v>44351</c:v>
                </c:pt>
                <c:pt idx="110">
                  <c:v>44354</c:v>
                </c:pt>
                <c:pt idx="111">
                  <c:v>44355</c:v>
                </c:pt>
                <c:pt idx="112">
                  <c:v>44356</c:v>
                </c:pt>
                <c:pt idx="113">
                  <c:v>44357</c:v>
                </c:pt>
                <c:pt idx="114">
                  <c:v>44358</c:v>
                </c:pt>
                <c:pt idx="115">
                  <c:v>44361</c:v>
                </c:pt>
                <c:pt idx="116">
                  <c:v>44362</c:v>
                </c:pt>
                <c:pt idx="117">
                  <c:v>44363</c:v>
                </c:pt>
                <c:pt idx="118">
                  <c:v>44364</c:v>
                </c:pt>
                <c:pt idx="119">
                  <c:v>44365</c:v>
                </c:pt>
                <c:pt idx="120">
                  <c:v>44368</c:v>
                </c:pt>
                <c:pt idx="121">
                  <c:v>44369</c:v>
                </c:pt>
                <c:pt idx="122">
                  <c:v>44370</c:v>
                </c:pt>
                <c:pt idx="123">
                  <c:v>44371</c:v>
                </c:pt>
                <c:pt idx="124">
                  <c:v>44372</c:v>
                </c:pt>
                <c:pt idx="125">
                  <c:v>44375</c:v>
                </c:pt>
                <c:pt idx="126">
                  <c:v>44376</c:v>
                </c:pt>
                <c:pt idx="127">
                  <c:v>44377</c:v>
                </c:pt>
                <c:pt idx="128">
                  <c:v>44378</c:v>
                </c:pt>
                <c:pt idx="129">
                  <c:v>44379</c:v>
                </c:pt>
                <c:pt idx="130">
                  <c:v>44382</c:v>
                </c:pt>
                <c:pt idx="131">
                  <c:v>44383</c:v>
                </c:pt>
                <c:pt idx="132">
                  <c:v>44384</c:v>
                </c:pt>
                <c:pt idx="133">
                  <c:v>44385</c:v>
                </c:pt>
                <c:pt idx="134">
                  <c:v>44386</c:v>
                </c:pt>
                <c:pt idx="135">
                  <c:v>44389</c:v>
                </c:pt>
                <c:pt idx="136">
                  <c:v>44390</c:v>
                </c:pt>
                <c:pt idx="137">
                  <c:v>44391</c:v>
                </c:pt>
                <c:pt idx="138">
                  <c:v>44392</c:v>
                </c:pt>
                <c:pt idx="139">
                  <c:v>44393</c:v>
                </c:pt>
                <c:pt idx="140">
                  <c:v>44396</c:v>
                </c:pt>
                <c:pt idx="141">
                  <c:v>44397</c:v>
                </c:pt>
                <c:pt idx="142">
                  <c:v>44398</c:v>
                </c:pt>
                <c:pt idx="143">
                  <c:v>44399</c:v>
                </c:pt>
                <c:pt idx="144">
                  <c:v>44400</c:v>
                </c:pt>
                <c:pt idx="145">
                  <c:v>44403</c:v>
                </c:pt>
                <c:pt idx="146">
                  <c:v>44404</c:v>
                </c:pt>
                <c:pt idx="147">
                  <c:v>44405</c:v>
                </c:pt>
                <c:pt idx="148">
                  <c:v>44406</c:v>
                </c:pt>
                <c:pt idx="149">
                  <c:v>44407</c:v>
                </c:pt>
                <c:pt idx="150">
                  <c:v>44410</c:v>
                </c:pt>
                <c:pt idx="151">
                  <c:v>44411</c:v>
                </c:pt>
                <c:pt idx="152">
                  <c:v>44412</c:v>
                </c:pt>
                <c:pt idx="153">
                  <c:v>44413</c:v>
                </c:pt>
                <c:pt idx="154">
                  <c:v>44414</c:v>
                </c:pt>
                <c:pt idx="155">
                  <c:v>44417</c:v>
                </c:pt>
                <c:pt idx="156">
                  <c:v>44418</c:v>
                </c:pt>
                <c:pt idx="157">
                  <c:v>44419</c:v>
                </c:pt>
                <c:pt idx="158">
                  <c:v>44420</c:v>
                </c:pt>
                <c:pt idx="159">
                  <c:v>44421</c:v>
                </c:pt>
                <c:pt idx="160">
                  <c:v>44424</c:v>
                </c:pt>
                <c:pt idx="161">
                  <c:v>44425</c:v>
                </c:pt>
                <c:pt idx="162">
                  <c:v>44426</c:v>
                </c:pt>
                <c:pt idx="163">
                  <c:v>44427</c:v>
                </c:pt>
                <c:pt idx="164">
                  <c:v>44428</c:v>
                </c:pt>
                <c:pt idx="165">
                  <c:v>44431</c:v>
                </c:pt>
                <c:pt idx="166">
                  <c:v>44432</c:v>
                </c:pt>
                <c:pt idx="167">
                  <c:v>44433</c:v>
                </c:pt>
                <c:pt idx="168">
                  <c:v>44434</c:v>
                </c:pt>
                <c:pt idx="169">
                  <c:v>44435</c:v>
                </c:pt>
                <c:pt idx="170">
                  <c:v>44438</c:v>
                </c:pt>
                <c:pt idx="171">
                  <c:v>44439</c:v>
                </c:pt>
                <c:pt idx="172">
                  <c:v>44440</c:v>
                </c:pt>
                <c:pt idx="173">
                  <c:v>44441</c:v>
                </c:pt>
                <c:pt idx="174">
                  <c:v>44442</c:v>
                </c:pt>
                <c:pt idx="175">
                  <c:v>44445</c:v>
                </c:pt>
                <c:pt idx="176">
                  <c:v>44446</c:v>
                </c:pt>
                <c:pt idx="177">
                  <c:v>44447</c:v>
                </c:pt>
                <c:pt idx="178">
                  <c:v>44448</c:v>
                </c:pt>
                <c:pt idx="179">
                  <c:v>44449</c:v>
                </c:pt>
                <c:pt idx="180">
                  <c:v>44452</c:v>
                </c:pt>
                <c:pt idx="181">
                  <c:v>44453</c:v>
                </c:pt>
                <c:pt idx="182">
                  <c:v>44454</c:v>
                </c:pt>
                <c:pt idx="183">
                  <c:v>44455</c:v>
                </c:pt>
                <c:pt idx="184">
                  <c:v>44456</c:v>
                </c:pt>
                <c:pt idx="185">
                  <c:v>44459</c:v>
                </c:pt>
                <c:pt idx="186">
                  <c:v>44460</c:v>
                </c:pt>
                <c:pt idx="187">
                  <c:v>44461</c:v>
                </c:pt>
                <c:pt idx="188">
                  <c:v>44462</c:v>
                </c:pt>
                <c:pt idx="189">
                  <c:v>44463</c:v>
                </c:pt>
                <c:pt idx="190">
                  <c:v>44466</c:v>
                </c:pt>
                <c:pt idx="191">
                  <c:v>44467</c:v>
                </c:pt>
                <c:pt idx="192">
                  <c:v>44468</c:v>
                </c:pt>
                <c:pt idx="193">
                  <c:v>44469</c:v>
                </c:pt>
                <c:pt idx="194">
                  <c:v>44470</c:v>
                </c:pt>
                <c:pt idx="195">
                  <c:v>44473</c:v>
                </c:pt>
                <c:pt idx="196">
                  <c:v>44474</c:v>
                </c:pt>
                <c:pt idx="197">
                  <c:v>44475</c:v>
                </c:pt>
                <c:pt idx="198">
                  <c:v>44476</c:v>
                </c:pt>
                <c:pt idx="199">
                  <c:v>44477</c:v>
                </c:pt>
                <c:pt idx="200">
                  <c:v>44480</c:v>
                </c:pt>
                <c:pt idx="201">
                  <c:v>44481</c:v>
                </c:pt>
                <c:pt idx="202">
                  <c:v>44482</c:v>
                </c:pt>
                <c:pt idx="203">
                  <c:v>44483</c:v>
                </c:pt>
                <c:pt idx="204">
                  <c:v>44484</c:v>
                </c:pt>
                <c:pt idx="205">
                  <c:v>44487</c:v>
                </c:pt>
                <c:pt idx="206">
                  <c:v>44488</c:v>
                </c:pt>
                <c:pt idx="207">
                  <c:v>44489</c:v>
                </c:pt>
                <c:pt idx="208">
                  <c:v>44490</c:v>
                </c:pt>
                <c:pt idx="209">
                  <c:v>44491</c:v>
                </c:pt>
                <c:pt idx="210">
                  <c:v>44494</c:v>
                </c:pt>
                <c:pt idx="211">
                  <c:v>44495</c:v>
                </c:pt>
                <c:pt idx="212">
                  <c:v>44496</c:v>
                </c:pt>
                <c:pt idx="213">
                  <c:v>44497</c:v>
                </c:pt>
                <c:pt idx="214">
                  <c:v>44498</c:v>
                </c:pt>
                <c:pt idx="215">
                  <c:v>44501</c:v>
                </c:pt>
                <c:pt idx="216">
                  <c:v>44502</c:v>
                </c:pt>
                <c:pt idx="217">
                  <c:v>44503</c:v>
                </c:pt>
                <c:pt idx="218">
                  <c:v>44504</c:v>
                </c:pt>
                <c:pt idx="219">
                  <c:v>44505</c:v>
                </c:pt>
                <c:pt idx="220">
                  <c:v>44508</c:v>
                </c:pt>
                <c:pt idx="221">
                  <c:v>44509</c:v>
                </c:pt>
                <c:pt idx="222">
                  <c:v>44510</c:v>
                </c:pt>
                <c:pt idx="223">
                  <c:v>44511</c:v>
                </c:pt>
                <c:pt idx="224">
                  <c:v>44512</c:v>
                </c:pt>
                <c:pt idx="225">
                  <c:v>44515</c:v>
                </c:pt>
                <c:pt idx="226">
                  <c:v>44516</c:v>
                </c:pt>
                <c:pt idx="227">
                  <c:v>44517</c:v>
                </c:pt>
                <c:pt idx="228">
                  <c:v>44518</c:v>
                </c:pt>
                <c:pt idx="229">
                  <c:v>44519</c:v>
                </c:pt>
                <c:pt idx="230">
                  <c:v>44522</c:v>
                </c:pt>
                <c:pt idx="231">
                  <c:v>44523</c:v>
                </c:pt>
                <c:pt idx="232">
                  <c:v>44524</c:v>
                </c:pt>
                <c:pt idx="233">
                  <c:v>44525</c:v>
                </c:pt>
                <c:pt idx="234">
                  <c:v>44526</c:v>
                </c:pt>
                <c:pt idx="235">
                  <c:v>44529</c:v>
                </c:pt>
                <c:pt idx="236">
                  <c:v>44530</c:v>
                </c:pt>
                <c:pt idx="237">
                  <c:v>44531</c:v>
                </c:pt>
                <c:pt idx="238">
                  <c:v>44532</c:v>
                </c:pt>
                <c:pt idx="239">
                  <c:v>44533</c:v>
                </c:pt>
                <c:pt idx="240">
                  <c:v>44536</c:v>
                </c:pt>
                <c:pt idx="241">
                  <c:v>44537</c:v>
                </c:pt>
                <c:pt idx="242">
                  <c:v>44538</c:v>
                </c:pt>
                <c:pt idx="243">
                  <c:v>44539</c:v>
                </c:pt>
                <c:pt idx="244">
                  <c:v>44540</c:v>
                </c:pt>
                <c:pt idx="245">
                  <c:v>44543</c:v>
                </c:pt>
                <c:pt idx="246">
                  <c:v>44544</c:v>
                </c:pt>
                <c:pt idx="247">
                  <c:v>44545</c:v>
                </c:pt>
                <c:pt idx="248">
                  <c:v>44546</c:v>
                </c:pt>
                <c:pt idx="249">
                  <c:v>44547</c:v>
                </c:pt>
                <c:pt idx="250">
                  <c:v>44550</c:v>
                </c:pt>
                <c:pt idx="251">
                  <c:v>44551</c:v>
                </c:pt>
                <c:pt idx="252">
                  <c:v>44552</c:v>
                </c:pt>
                <c:pt idx="253">
                  <c:v>44553</c:v>
                </c:pt>
                <c:pt idx="254">
                  <c:v>44554</c:v>
                </c:pt>
                <c:pt idx="255">
                  <c:v>44557</c:v>
                </c:pt>
                <c:pt idx="256">
                  <c:v>44558</c:v>
                </c:pt>
                <c:pt idx="257">
                  <c:v>44559</c:v>
                </c:pt>
                <c:pt idx="258">
                  <c:v>44560</c:v>
                </c:pt>
                <c:pt idx="259">
                  <c:v>44561</c:v>
                </c:pt>
                <c:pt idx="260">
                  <c:v>44564</c:v>
                </c:pt>
                <c:pt idx="261">
                  <c:v>44565</c:v>
                </c:pt>
                <c:pt idx="262">
                  <c:v>44566</c:v>
                </c:pt>
                <c:pt idx="263">
                  <c:v>44567</c:v>
                </c:pt>
                <c:pt idx="264">
                  <c:v>44568</c:v>
                </c:pt>
                <c:pt idx="265">
                  <c:v>44571</c:v>
                </c:pt>
                <c:pt idx="266">
                  <c:v>44572</c:v>
                </c:pt>
                <c:pt idx="267">
                  <c:v>44573</c:v>
                </c:pt>
                <c:pt idx="268">
                  <c:v>44574</c:v>
                </c:pt>
                <c:pt idx="269">
                  <c:v>44575</c:v>
                </c:pt>
                <c:pt idx="270">
                  <c:v>44578</c:v>
                </c:pt>
                <c:pt idx="271">
                  <c:v>44579</c:v>
                </c:pt>
                <c:pt idx="272">
                  <c:v>44580</c:v>
                </c:pt>
                <c:pt idx="273">
                  <c:v>44581</c:v>
                </c:pt>
                <c:pt idx="274">
                  <c:v>44582</c:v>
                </c:pt>
                <c:pt idx="275">
                  <c:v>44585</c:v>
                </c:pt>
                <c:pt idx="276">
                  <c:v>44586</c:v>
                </c:pt>
                <c:pt idx="277">
                  <c:v>44587</c:v>
                </c:pt>
                <c:pt idx="278">
                  <c:v>44588</c:v>
                </c:pt>
                <c:pt idx="279">
                  <c:v>44589</c:v>
                </c:pt>
                <c:pt idx="280">
                  <c:v>44592</c:v>
                </c:pt>
                <c:pt idx="281">
                  <c:v>44593</c:v>
                </c:pt>
                <c:pt idx="282">
                  <c:v>44594</c:v>
                </c:pt>
                <c:pt idx="283">
                  <c:v>44595</c:v>
                </c:pt>
                <c:pt idx="284">
                  <c:v>44596</c:v>
                </c:pt>
                <c:pt idx="285">
                  <c:v>44599</c:v>
                </c:pt>
                <c:pt idx="286">
                  <c:v>44600</c:v>
                </c:pt>
                <c:pt idx="287">
                  <c:v>44601</c:v>
                </c:pt>
                <c:pt idx="288">
                  <c:v>44602</c:v>
                </c:pt>
                <c:pt idx="289">
                  <c:v>44603</c:v>
                </c:pt>
                <c:pt idx="290">
                  <c:v>44606</c:v>
                </c:pt>
                <c:pt idx="291">
                  <c:v>44607</c:v>
                </c:pt>
                <c:pt idx="292">
                  <c:v>44608</c:v>
                </c:pt>
                <c:pt idx="293">
                  <c:v>44609</c:v>
                </c:pt>
                <c:pt idx="294">
                  <c:v>44610</c:v>
                </c:pt>
                <c:pt idx="295">
                  <c:v>44613</c:v>
                </c:pt>
                <c:pt idx="296">
                  <c:v>44614</c:v>
                </c:pt>
                <c:pt idx="297">
                  <c:v>44615</c:v>
                </c:pt>
                <c:pt idx="298">
                  <c:v>44616</c:v>
                </c:pt>
                <c:pt idx="299">
                  <c:v>44617</c:v>
                </c:pt>
                <c:pt idx="300">
                  <c:v>44620</c:v>
                </c:pt>
                <c:pt idx="301">
                  <c:v>44621</c:v>
                </c:pt>
                <c:pt idx="302">
                  <c:v>44622</c:v>
                </c:pt>
                <c:pt idx="303">
                  <c:v>44623</c:v>
                </c:pt>
                <c:pt idx="304">
                  <c:v>44624</c:v>
                </c:pt>
                <c:pt idx="305">
                  <c:v>44627</c:v>
                </c:pt>
                <c:pt idx="306">
                  <c:v>44628</c:v>
                </c:pt>
                <c:pt idx="307">
                  <c:v>44629</c:v>
                </c:pt>
                <c:pt idx="308">
                  <c:v>44630</c:v>
                </c:pt>
                <c:pt idx="309">
                  <c:v>44631</c:v>
                </c:pt>
                <c:pt idx="310">
                  <c:v>44634</c:v>
                </c:pt>
                <c:pt idx="311">
                  <c:v>44635</c:v>
                </c:pt>
                <c:pt idx="312">
                  <c:v>44636</c:v>
                </c:pt>
                <c:pt idx="313">
                  <c:v>44637</c:v>
                </c:pt>
                <c:pt idx="314">
                  <c:v>44638</c:v>
                </c:pt>
                <c:pt idx="315">
                  <c:v>44641</c:v>
                </c:pt>
                <c:pt idx="316">
                  <c:v>44642</c:v>
                </c:pt>
                <c:pt idx="317">
                  <c:v>44643</c:v>
                </c:pt>
                <c:pt idx="318">
                  <c:v>44644</c:v>
                </c:pt>
                <c:pt idx="319">
                  <c:v>44645</c:v>
                </c:pt>
                <c:pt idx="320">
                  <c:v>44648</c:v>
                </c:pt>
                <c:pt idx="321">
                  <c:v>44649</c:v>
                </c:pt>
                <c:pt idx="322">
                  <c:v>44650</c:v>
                </c:pt>
                <c:pt idx="323">
                  <c:v>44651</c:v>
                </c:pt>
                <c:pt idx="324">
                  <c:v>44652</c:v>
                </c:pt>
                <c:pt idx="325">
                  <c:v>44655</c:v>
                </c:pt>
                <c:pt idx="326">
                  <c:v>44656</c:v>
                </c:pt>
                <c:pt idx="327">
                  <c:v>44657</c:v>
                </c:pt>
                <c:pt idx="328">
                  <c:v>44658</c:v>
                </c:pt>
                <c:pt idx="329">
                  <c:v>44659</c:v>
                </c:pt>
                <c:pt idx="330">
                  <c:v>44662</c:v>
                </c:pt>
                <c:pt idx="331">
                  <c:v>44663</c:v>
                </c:pt>
                <c:pt idx="332">
                  <c:v>44664</c:v>
                </c:pt>
                <c:pt idx="333">
                  <c:v>44665</c:v>
                </c:pt>
                <c:pt idx="334">
                  <c:v>44666</c:v>
                </c:pt>
                <c:pt idx="335">
                  <c:v>44669</c:v>
                </c:pt>
                <c:pt idx="336">
                  <c:v>44670</c:v>
                </c:pt>
                <c:pt idx="337">
                  <c:v>44671</c:v>
                </c:pt>
                <c:pt idx="338">
                  <c:v>44672</c:v>
                </c:pt>
                <c:pt idx="339">
                  <c:v>44673</c:v>
                </c:pt>
                <c:pt idx="340">
                  <c:v>44676</c:v>
                </c:pt>
                <c:pt idx="341">
                  <c:v>44677</c:v>
                </c:pt>
                <c:pt idx="342">
                  <c:v>44678</c:v>
                </c:pt>
                <c:pt idx="343">
                  <c:v>44679</c:v>
                </c:pt>
                <c:pt idx="344">
                  <c:v>44680</c:v>
                </c:pt>
                <c:pt idx="345">
                  <c:v>44683</c:v>
                </c:pt>
                <c:pt idx="346">
                  <c:v>44684</c:v>
                </c:pt>
                <c:pt idx="347">
                  <c:v>44685</c:v>
                </c:pt>
                <c:pt idx="348">
                  <c:v>44686</c:v>
                </c:pt>
                <c:pt idx="349">
                  <c:v>44687</c:v>
                </c:pt>
                <c:pt idx="350">
                  <c:v>44690</c:v>
                </c:pt>
                <c:pt idx="351">
                  <c:v>44691</c:v>
                </c:pt>
                <c:pt idx="352">
                  <c:v>44692</c:v>
                </c:pt>
                <c:pt idx="353">
                  <c:v>44693</c:v>
                </c:pt>
                <c:pt idx="354">
                  <c:v>44694</c:v>
                </c:pt>
                <c:pt idx="355">
                  <c:v>44697</c:v>
                </c:pt>
                <c:pt idx="356">
                  <c:v>44698</c:v>
                </c:pt>
                <c:pt idx="357">
                  <c:v>44699</c:v>
                </c:pt>
                <c:pt idx="358">
                  <c:v>44700</c:v>
                </c:pt>
                <c:pt idx="359">
                  <c:v>44701</c:v>
                </c:pt>
                <c:pt idx="360">
                  <c:v>44704</c:v>
                </c:pt>
                <c:pt idx="361">
                  <c:v>44705</c:v>
                </c:pt>
                <c:pt idx="362">
                  <c:v>44706</c:v>
                </c:pt>
                <c:pt idx="363">
                  <c:v>44707</c:v>
                </c:pt>
                <c:pt idx="364">
                  <c:v>44708</c:v>
                </c:pt>
                <c:pt idx="365">
                  <c:v>44711</c:v>
                </c:pt>
                <c:pt idx="366">
                  <c:v>44712</c:v>
                </c:pt>
                <c:pt idx="367">
                  <c:v>44713</c:v>
                </c:pt>
                <c:pt idx="368">
                  <c:v>44714</c:v>
                </c:pt>
                <c:pt idx="369">
                  <c:v>44715</c:v>
                </c:pt>
                <c:pt idx="370">
                  <c:v>44718</c:v>
                </c:pt>
                <c:pt idx="371">
                  <c:v>44719</c:v>
                </c:pt>
                <c:pt idx="372">
                  <c:v>44720</c:v>
                </c:pt>
                <c:pt idx="373">
                  <c:v>44721</c:v>
                </c:pt>
                <c:pt idx="374">
                  <c:v>44722</c:v>
                </c:pt>
                <c:pt idx="375">
                  <c:v>44725</c:v>
                </c:pt>
                <c:pt idx="376">
                  <c:v>44726</c:v>
                </c:pt>
                <c:pt idx="377">
                  <c:v>44727</c:v>
                </c:pt>
                <c:pt idx="378">
                  <c:v>44728</c:v>
                </c:pt>
                <c:pt idx="379">
                  <c:v>44729</c:v>
                </c:pt>
                <c:pt idx="380">
                  <c:v>44732</c:v>
                </c:pt>
                <c:pt idx="381">
                  <c:v>44733</c:v>
                </c:pt>
                <c:pt idx="382">
                  <c:v>44734</c:v>
                </c:pt>
                <c:pt idx="383">
                  <c:v>44735</c:v>
                </c:pt>
                <c:pt idx="384">
                  <c:v>44736</c:v>
                </c:pt>
                <c:pt idx="385">
                  <c:v>44739</c:v>
                </c:pt>
                <c:pt idx="386">
                  <c:v>44740</c:v>
                </c:pt>
                <c:pt idx="387">
                  <c:v>44741</c:v>
                </c:pt>
                <c:pt idx="388">
                  <c:v>44742</c:v>
                </c:pt>
                <c:pt idx="389">
                  <c:v>44743</c:v>
                </c:pt>
                <c:pt idx="390">
                  <c:v>44746</c:v>
                </c:pt>
                <c:pt idx="391">
                  <c:v>44747</c:v>
                </c:pt>
                <c:pt idx="392">
                  <c:v>44748</c:v>
                </c:pt>
                <c:pt idx="393">
                  <c:v>44749</c:v>
                </c:pt>
                <c:pt idx="394">
                  <c:v>44750</c:v>
                </c:pt>
                <c:pt idx="395">
                  <c:v>44753</c:v>
                </c:pt>
                <c:pt idx="396">
                  <c:v>44754</c:v>
                </c:pt>
                <c:pt idx="397">
                  <c:v>44755</c:v>
                </c:pt>
                <c:pt idx="398">
                  <c:v>44756</c:v>
                </c:pt>
                <c:pt idx="399">
                  <c:v>44757</c:v>
                </c:pt>
                <c:pt idx="400">
                  <c:v>44760</c:v>
                </c:pt>
                <c:pt idx="401">
                  <c:v>44761</c:v>
                </c:pt>
                <c:pt idx="402">
                  <c:v>44762</c:v>
                </c:pt>
                <c:pt idx="403">
                  <c:v>44763</c:v>
                </c:pt>
                <c:pt idx="404">
                  <c:v>44764</c:v>
                </c:pt>
                <c:pt idx="405">
                  <c:v>44767</c:v>
                </c:pt>
                <c:pt idx="406">
                  <c:v>44768</c:v>
                </c:pt>
                <c:pt idx="407">
                  <c:v>44769</c:v>
                </c:pt>
                <c:pt idx="408">
                  <c:v>44770</c:v>
                </c:pt>
                <c:pt idx="409">
                  <c:v>44771</c:v>
                </c:pt>
                <c:pt idx="410">
                  <c:v>44774</c:v>
                </c:pt>
                <c:pt idx="411">
                  <c:v>44775</c:v>
                </c:pt>
                <c:pt idx="412">
                  <c:v>44776</c:v>
                </c:pt>
                <c:pt idx="413">
                  <c:v>44777</c:v>
                </c:pt>
                <c:pt idx="414">
                  <c:v>44778</c:v>
                </c:pt>
                <c:pt idx="415">
                  <c:v>44781</c:v>
                </c:pt>
                <c:pt idx="416">
                  <c:v>44782</c:v>
                </c:pt>
                <c:pt idx="417">
                  <c:v>44783</c:v>
                </c:pt>
                <c:pt idx="418">
                  <c:v>44784</c:v>
                </c:pt>
                <c:pt idx="419">
                  <c:v>44785</c:v>
                </c:pt>
                <c:pt idx="420">
                  <c:v>44788</c:v>
                </c:pt>
                <c:pt idx="421">
                  <c:v>44789</c:v>
                </c:pt>
                <c:pt idx="422">
                  <c:v>44790</c:v>
                </c:pt>
                <c:pt idx="423">
                  <c:v>44791</c:v>
                </c:pt>
                <c:pt idx="424">
                  <c:v>44792</c:v>
                </c:pt>
                <c:pt idx="425">
                  <c:v>44795</c:v>
                </c:pt>
                <c:pt idx="426">
                  <c:v>44796</c:v>
                </c:pt>
                <c:pt idx="427">
                  <c:v>44797</c:v>
                </c:pt>
                <c:pt idx="428">
                  <c:v>44798</c:v>
                </c:pt>
                <c:pt idx="429">
                  <c:v>44799</c:v>
                </c:pt>
                <c:pt idx="430">
                  <c:v>44802</c:v>
                </c:pt>
                <c:pt idx="431">
                  <c:v>44803</c:v>
                </c:pt>
                <c:pt idx="432">
                  <c:v>44804</c:v>
                </c:pt>
                <c:pt idx="433">
                  <c:v>44805</c:v>
                </c:pt>
                <c:pt idx="434">
                  <c:v>44806</c:v>
                </c:pt>
                <c:pt idx="435">
                  <c:v>44809</c:v>
                </c:pt>
                <c:pt idx="436">
                  <c:v>44810</c:v>
                </c:pt>
                <c:pt idx="437">
                  <c:v>44811</c:v>
                </c:pt>
                <c:pt idx="438">
                  <c:v>44812</c:v>
                </c:pt>
                <c:pt idx="439">
                  <c:v>44813</c:v>
                </c:pt>
                <c:pt idx="440">
                  <c:v>44816</c:v>
                </c:pt>
                <c:pt idx="441">
                  <c:v>44817</c:v>
                </c:pt>
                <c:pt idx="442">
                  <c:v>44818</c:v>
                </c:pt>
                <c:pt idx="443">
                  <c:v>44819</c:v>
                </c:pt>
                <c:pt idx="444">
                  <c:v>44820</c:v>
                </c:pt>
                <c:pt idx="445">
                  <c:v>44823</c:v>
                </c:pt>
                <c:pt idx="446">
                  <c:v>44824</c:v>
                </c:pt>
                <c:pt idx="447">
                  <c:v>44825</c:v>
                </c:pt>
                <c:pt idx="448">
                  <c:v>44826</c:v>
                </c:pt>
                <c:pt idx="449">
                  <c:v>44827</c:v>
                </c:pt>
                <c:pt idx="450">
                  <c:v>44830</c:v>
                </c:pt>
                <c:pt idx="451">
                  <c:v>44831</c:v>
                </c:pt>
                <c:pt idx="452">
                  <c:v>44832</c:v>
                </c:pt>
                <c:pt idx="453">
                  <c:v>44833</c:v>
                </c:pt>
                <c:pt idx="454">
                  <c:v>44834</c:v>
                </c:pt>
                <c:pt idx="455">
                  <c:v>44837</c:v>
                </c:pt>
                <c:pt idx="456">
                  <c:v>44838</c:v>
                </c:pt>
                <c:pt idx="457">
                  <c:v>44839</c:v>
                </c:pt>
                <c:pt idx="458">
                  <c:v>44840</c:v>
                </c:pt>
                <c:pt idx="459">
                  <c:v>44841</c:v>
                </c:pt>
                <c:pt idx="460">
                  <c:v>44844</c:v>
                </c:pt>
                <c:pt idx="461">
                  <c:v>44845</c:v>
                </c:pt>
                <c:pt idx="462">
                  <c:v>44846</c:v>
                </c:pt>
                <c:pt idx="463">
                  <c:v>44847</c:v>
                </c:pt>
                <c:pt idx="464">
                  <c:v>44848</c:v>
                </c:pt>
                <c:pt idx="465">
                  <c:v>44851</c:v>
                </c:pt>
                <c:pt idx="466">
                  <c:v>44852</c:v>
                </c:pt>
                <c:pt idx="467">
                  <c:v>44853</c:v>
                </c:pt>
                <c:pt idx="468">
                  <c:v>44854</c:v>
                </c:pt>
                <c:pt idx="469">
                  <c:v>44855</c:v>
                </c:pt>
                <c:pt idx="470">
                  <c:v>44858</c:v>
                </c:pt>
                <c:pt idx="471">
                  <c:v>44859</c:v>
                </c:pt>
                <c:pt idx="472">
                  <c:v>44860</c:v>
                </c:pt>
                <c:pt idx="473">
                  <c:v>44861</c:v>
                </c:pt>
                <c:pt idx="474">
                  <c:v>44862</c:v>
                </c:pt>
                <c:pt idx="475">
                  <c:v>44865</c:v>
                </c:pt>
                <c:pt idx="476">
                  <c:v>44866</c:v>
                </c:pt>
                <c:pt idx="477">
                  <c:v>44867</c:v>
                </c:pt>
                <c:pt idx="478">
                  <c:v>44868</c:v>
                </c:pt>
                <c:pt idx="479">
                  <c:v>44869</c:v>
                </c:pt>
                <c:pt idx="480">
                  <c:v>44872</c:v>
                </c:pt>
                <c:pt idx="481">
                  <c:v>44873</c:v>
                </c:pt>
                <c:pt idx="482">
                  <c:v>44874</c:v>
                </c:pt>
                <c:pt idx="483">
                  <c:v>44875</c:v>
                </c:pt>
                <c:pt idx="484">
                  <c:v>44876</c:v>
                </c:pt>
                <c:pt idx="485">
                  <c:v>44879</c:v>
                </c:pt>
                <c:pt idx="486">
                  <c:v>44880</c:v>
                </c:pt>
                <c:pt idx="487">
                  <c:v>44881</c:v>
                </c:pt>
                <c:pt idx="488">
                  <c:v>44882</c:v>
                </c:pt>
                <c:pt idx="489">
                  <c:v>44883</c:v>
                </c:pt>
                <c:pt idx="490">
                  <c:v>44886</c:v>
                </c:pt>
                <c:pt idx="491">
                  <c:v>44887</c:v>
                </c:pt>
                <c:pt idx="492">
                  <c:v>44888</c:v>
                </c:pt>
                <c:pt idx="493">
                  <c:v>44889</c:v>
                </c:pt>
                <c:pt idx="494">
                  <c:v>44890</c:v>
                </c:pt>
                <c:pt idx="495">
                  <c:v>44893</c:v>
                </c:pt>
                <c:pt idx="496">
                  <c:v>44894</c:v>
                </c:pt>
                <c:pt idx="497">
                  <c:v>44895</c:v>
                </c:pt>
                <c:pt idx="498">
                  <c:v>44896</c:v>
                </c:pt>
                <c:pt idx="499">
                  <c:v>44897</c:v>
                </c:pt>
                <c:pt idx="500">
                  <c:v>44900</c:v>
                </c:pt>
                <c:pt idx="501">
                  <c:v>44901</c:v>
                </c:pt>
                <c:pt idx="502">
                  <c:v>44902</c:v>
                </c:pt>
                <c:pt idx="503">
                  <c:v>44903</c:v>
                </c:pt>
                <c:pt idx="504">
                  <c:v>44904</c:v>
                </c:pt>
                <c:pt idx="505">
                  <c:v>44907</c:v>
                </c:pt>
                <c:pt idx="506">
                  <c:v>44908</c:v>
                </c:pt>
                <c:pt idx="507">
                  <c:v>44909</c:v>
                </c:pt>
                <c:pt idx="508">
                  <c:v>44910</c:v>
                </c:pt>
                <c:pt idx="509">
                  <c:v>44911</c:v>
                </c:pt>
                <c:pt idx="510">
                  <c:v>44914</c:v>
                </c:pt>
                <c:pt idx="511">
                  <c:v>44915</c:v>
                </c:pt>
                <c:pt idx="512">
                  <c:v>44916</c:v>
                </c:pt>
                <c:pt idx="513">
                  <c:v>44917</c:v>
                </c:pt>
                <c:pt idx="514">
                  <c:v>44918</c:v>
                </c:pt>
                <c:pt idx="515">
                  <c:v>44921</c:v>
                </c:pt>
                <c:pt idx="516">
                  <c:v>44922</c:v>
                </c:pt>
                <c:pt idx="517">
                  <c:v>44923</c:v>
                </c:pt>
                <c:pt idx="518">
                  <c:v>44924</c:v>
                </c:pt>
                <c:pt idx="519">
                  <c:v>44925</c:v>
                </c:pt>
                <c:pt idx="520">
                  <c:v>44928</c:v>
                </c:pt>
                <c:pt idx="521">
                  <c:v>44929</c:v>
                </c:pt>
                <c:pt idx="522">
                  <c:v>44930</c:v>
                </c:pt>
                <c:pt idx="523">
                  <c:v>44931</c:v>
                </c:pt>
                <c:pt idx="524">
                  <c:v>44932</c:v>
                </c:pt>
                <c:pt idx="525">
                  <c:v>44935</c:v>
                </c:pt>
                <c:pt idx="526">
                  <c:v>44936</c:v>
                </c:pt>
              </c:numCache>
            </c:numRef>
          </c:cat>
          <c:val>
            <c:numRef>
              <c:f>'10y RAGB time series'!$B$790:$B$1317</c:f>
              <c:numCache>
                <c:formatCode>General</c:formatCode>
                <c:ptCount val="528"/>
                <c:pt idx="0">
                  <c:v>-0.433</c:v>
                </c:pt>
                <c:pt idx="1">
                  <c:v>-0.46400000000000002</c:v>
                </c:pt>
                <c:pt idx="2">
                  <c:v>-0.43</c:v>
                </c:pt>
                <c:pt idx="3">
                  <c:v>-0.40899999999999997</c:v>
                </c:pt>
                <c:pt idx="4">
                  <c:v>-0.41099999999999998</c:v>
                </c:pt>
                <c:pt idx="5">
                  <c:v>-0.41599999999999998</c:v>
                </c:pt>
                <c:pt idx="6">
                  <c:v>-0.39300000000000002</c:v>
                </c:pt>
                <c:pt idx="7">
                  <c:v>-0.35599999999999998</c:v>
                </c:pt>
                <c:pt idx="8">
                  <c:v>-0.40500000000000003</c:v>
                </c:pt>
                <c:pt idx="9">
                  <c:v>-0.42799999999999999</c:v>
                </c:pt>
                <c:pt idx="10">
                  <c:v>-0.41599999999999998</c:v>
                </c:pt>
                <c:pt idx="11">
                  <c:v>-0.39900000000000002</c:v>
                </c:pt>
                <c:pt idx="12">
                  <c:v>-0.40300000000000002</c:v>
                </c:pt>
                <c:pt idx="13">
                  <c:v>-0.40100000000000002</c:v>
                </c:pt>
                <c:pt idx="14">
                  <c:v>-0.36699999999999999</c:v>
                </c:pt>
                <c:pt idx="15">
                  <c:v>-0.377</c:v>
                </c:pt>
                <c:pt idx="16">
                  <c:v>-0.41599999999999998</c:v>
                </c:pt>
                <c:pt idx="17">
                  <c:v>-0.39600000000000002</c:v>
                </c:pt>
                <c:pt idx="18">
                  <c:v>-0.40699999999999997</c:v>
                </c:pt>
                <c:pt idx="19">
                  <c:v>-0.39800000000000002</c:v>
                </c:pt>
                <c:pt idx="20">
                  <c:v>-0.38600000000000001</c:v>
                </c:pt>
                <c:pt idx="21">
                  <c:v>-0.38700000000000001</c:v>
                </c:pt>
                <c:pt idx="22">
                  <c:v>-0.36199999999999999</c:v>
                </c:pt>
                <c:pt idx="23">
                  <c:v>-0.33700000000000002</c:v>
                </c:pt>
                <c:pt idx="24">
                  <c:v>-0.33</c:v>
                </c:pt>
                <c:pt idx="25">
                  <c:v>-0.32300000000000001</c:v>
                </c:pt>
                <c:pt idx="26">
                  <c:v>-0.32600000000000001</c:v>
                </c:pt>
                <c:pt idx="27">
                  <c:v>-0.32700000000000001</c:v>
                </c:pt>
                <c:pt idx="28">
                  <c:v>-0.313</c:v>
                </c:pt>
                <c:pt idx="29">
                  <c:v>-0.26300000000000001</c:v>
                </c:pt>
                <c:pt idx="30">
                  <c:v>-0.23</c:v>
                </c:pt>
                <c:pt idx="31">
                  <c:v>-0.183</c:v>
                </c:pt>
                <c:pt idx="32">
                  <c:v>-0.14599999999999999</c:v>
                </c:pt>
                <c:pt idx="33">
                  <c:v>-0.151</c:v>
                </c:pt>
                <c:pt idx="34">
                  <c:v>-0.121</c:v>
                </c:pt>
                <c:pt idx="35">
                  <c:v>-8.1000000000000003E-2</c:v>
                </c:pt>
                <c:pt idx="36">
                  <c:v>-0.11700000000000001</c:v>
                </c:pt>
                <c:pt idx="37">
                  <c:v>-8.6999999999999994E-2</c:v>
                </c:pt>
                <c:pt idx="38">
                  <c:v>-6.7000000000000004E-2</c:v>
                </c:pt>
                <c:pt idx="39">
                  <c:v>1E-3</c:v>
                </c:pt>
                <c:pt idx="40">
                  <c:v>-0.04</c:v>
                </c:pt>
                <c:pt idx="41">
                  <c:v>-0.13200000000000001</c:v>
                </c:pt>
                <c:pt idx="42">
                  <c:v>-0.13700000000000001</c:v>
                </c:pt>
                <c:pt idx="43">
                  <c:v>-7.0000000000000007E-2</c:v>
                </c:pt>
                <c:pt idx="44">
                  <c:v>-9.7000000000000003E-2</c:v>
                </c:pt>
                <c:pt idx="45">
                  <c:v>-8.4000000000000005E-2</c:v>
                </c:pt>
                <c:pt idx="46">
                  <c:v>-5.7000000000000002E-2</c:v>
                </c:pt>
                <c:pt idx="47">
                  <c:v>-8.1000000000000003E-2</c:v>
                </c:pt>
                <c:pt idx="48">
                  <c:v>-7.1999999999999995E-2</c:v>
                </c:pt>
                <c:pt idx="49">
                  <c:v>-0.11600000000000001</c:v>
                </c:pt>
                <c:pt idx="50">
                  <c:v>-9.7000000000000003E-2</c:v>
                </c:pt>
                <c:pt idx="51">
                  <c:v>-0.125</c:v>
                </c:pt>
                <c:pt idx="52">
                  <c:v>-0.115</c:v>
                </c:pt>
                <c:pt idx="53">
                  <c:v>-7.0999999999999994E-2</c:v>
                </c:pt>
                <c:pt idx="54">
                  <c:v>-4.5999999999999999E-2</c:v>
                </c:pt>
                <c:pt idx="55">
                  <c:v>-7.8E-2</c:v>
                </c:pt>
                <c:pt idx="56">
                  <c:v>-9.0999999999999998E-2</c:v>
                </c:pt>
                <c:pt idx="57">
                  <c:v>-0.12</c:v>
                </c:pt>
                <c:pt idx="58">
                  <c:v>-0.127</c:v>
                </c:pt>
                <c:pt idx="59">
                  <c:v>-0.158</c:v>
                </c:pt>
                <c:pt idx="60">
                  <c:v>-0.123</c:v>
                </c:pt>
                <c:pt idx="61">
                  <c:v>-9.6000000000000002E-2</c:v>
                </c:pt>
                <c:pt idx="62">
                  <c:v>-6.9000000000000006E-2</c:v>
                </c:pt>
                <c:pt idx="63">
                  <c:v>-7.6999999999999999E-2</c:v>
                </c:pt>
                <c:pt idx="64">
                  <c:v>-0.112</c:v>
                </c:pt>
                <c:pt idx="65">
                  <c:v>-0.112</c:v>
                </c:pt>
                <c:pt idx="66">
                  <c:v>-0.112</c:v>
                </c:pt>
                <c:pt idx="67">
                  <c:v>-9.8000000000000004E-2</c:v>
                </c:pt>
                <c:pt idx="68">
                  <c:v>-0.10100000000000001</c:v>
                </c:pt>
                <c:pt idx="69">
                  <c:v>-0.113</c:v>
                </c:pt>
                <c:pt idx="70">
                  <c:v>-0.08</c:v>
                </c:pt>
                <c:pt idx="71">
                  <c:v>-7.0000000000000007E-2</c:v>
                </c:pt>
                <c:pt idx="72">
                  <c:v>-6.5000000000000002E-2</c:v>
                </c:pt>
                <c:pt idx="73">
                  <c:v>-3.5999999999999997E-2</c:v>
                </c:pt>
                <c:pt idx="74">
                  <c:v>-6.6000000000000003E-2</c:v>
                </c:pt>
                <c:pt idx="75">
                  <c:v>-3.9E-2</c:v>
                </c:pt>
                <c:pt idx="76">
                  <c:v>-1.6E-2</c:v>
                </c:pt>
                <c:pt idx="77">
                  <c:v>-4.3999999999999997E-2</c:v>
                </c:pt>
                <c:pt idx="78">
                  <c:v>-4.2999999999999997E-2</c:v>
                </c:pt>
                <c:pt idx="79">
                  <c:v>-3.4000000000000002E-2</c:v>
                </c:pt>
                <c:pt idx="80">
                  <c:v>-3.7999999999999999E-2</c:v>
                </c:pt>
                <c:pt idx="81">
                  <c:v>-3.1E-2</c:v>
                </c:pt>
                <c:pt idx="82">
                  <c:v>-2.5999999999999999E-2</c:v>
                </c:pt>
                <c:pt idx="83">
                  <c:v>-4.0000000000000001E-3</c:v>
                </c:pt>
                <c:pt idx="84">
                  <c:v>3.1E-2</c:v>
                </c:pt>
                <c:pt idx="85">
                  <c:v>2.5000000000000001E-2</c:v>
                </c:pt>
                <c:pt idx="86">
                  <c:v>2.1999999999999999E-2</c:v>
                </c:pt>
                <c:pt idx="87">
                  <c:v>-0.01</c:v>
                </c:pt>
                <c:pt idx="88">
                  <c:v>-2E-3</c:v>
                </c:pt>
                <c:pt idx="89">
                  <c:v>3.0000000000000001E-3</c:v>
                </c:pt>
                <c:pt idx="90">
                  <c:v>2.5000000000000001E-2</c:v>
                </c:pt>
                <c:pt idx="91">
                  <c:v>3.2000000000000001E-2</c:v>
                </c:pt>
                <c:pt idx="92">
                  <c:v>7.3999999999999996E-2</c:v>
                </c:pt>
                <c:pt idx="93">
                  <c:v>0.112</c:v>
                </c:pt>
                <c:pt idx="94">
                  <c:v>0.124</c:v>
                </c:pt>
                <c:pt idx="95">
                  <c:v>0.11899999999999999</c:v>
                </c:pt>
                <c:pt idx="96">
                  <c:v>0.14599999999999999</c:v>
                </c:pt>
                <c:pt idx="97">
                  <c:v>0.154</c:v>
                </c:pt>
                <c:pt idx="98">
                  <c:v>0.14799999999999999</c:v>
                </c:pt>
                <c:pt idx="99">
                  <c:v>0.125</c:v>
                </c:pt>
                <c:pt idx="100">
                  <c:v>0.10199999999999999</c:v>
                </c:pt>
                <c:pt idx="101">
                  <c:v>9.0999999999999998E-2</c:v>
                </c:pt>
                <c:pt idx="102">
                  <c:v>6.0999999999999999E-2</c:v>
                </c:pt>
                <c:pt idx="103">
                  <c:v>2.3E-2</c:v>
                </c:pt>
                <c:pt idx="104">
                  <c:v>5.1999999999999998E-2</c:v>
                </c:pt>
                <c:pt idx="105">
                  <c:v>4.2999999999999997E-2</c:v>
                </c:pt>
                <c:pt idx="106">
                  <c:v>3.7999999999999999E-2</c:v>
                </c:pt>
                <c:pt idx="107">
                  <c:v>4.4999999999999998E-2</c:v>
                </c:pt>
                <c:pt idx="108">
                  <c:v>2.5999999999999999E-2</c:v>
                </c:pt>
                <c:pt idx="109">
                  <c:v>4.2000000000000003E-2</c:v>
                </c:pt>
                <c:pt idx="110">
                  <c:v>1.7000000000000001E-2</c:v>
                </c:pt>
                <c:pt idx="111">
                  <c:v>3.5999999999999997E-2</c:v>
                </c:pt>
                <c:pt idx="112">
                  <c:v>8.0000000000000002E-3</c:v>
                </c:pt>
                <c:pt idx="113">
                  <c:v>-1.4999999999999999E-2</c:v>
                </c:pt>
                <c:pt idx="114">
                  <c:v>-2.8000000000000001E-2</c:v>
                </c:pt>
                <c:pt idx="115">
                  <c:v>-4.2000000000000003E-2</c:v>
                </c:pt>
                <c:pt idx="116">
                  <c:v>-1.9E-2</c:v>
                </c:pt>
                <c:pt idx="117">
                  <c:v>2E-3</c:v>
                </c:pt>
                <c:pt idx="118">
                  <c:v>-1.4999999999999999E-2</c:v>
                </c:pt>
                <c:pt idx="119">
                  <c:v>8.0000000000000002E-3</c:v>
                </c:pt>
                <c:pt idx="120">
                  <c:v>1.2999999999999999E-2</c:v>
                </c:pt>
                <c:pt idx="121">
                  <c:v>3.5000000000000003E-2</c:v>
                </c:pt>
                <c:pt idx="122">
                  <c:v>3.4000000000000002E-2</c:v>
                </c:pt>
                <c:pt idx="123">
                  <c:v>0.02</c:v>
                </c:pt>
                <c:pt idx="124">
                  <c:v>8.9999999999999993E-3</c:v>
                </c:pt>
                <c:pt idx="125">
                  <c:v>5.0999999999999997E-2</c:v>
                </c:pt>
                <c:pt idx="126">
                  <c:v>0.02</c:v>
                </c:pt>
                <c:pt idx="127">
                  <c:v>3.5999999999999997E-2</c:v>
                </c:pt>
                <c:pt idx="128">
                  <c:v>-5.0000000000000001E-3</c:v>
                </c:pt>
                <c:pt idx="129">
                  <c:v>-5.0000000000000001E-3</c:v>
                </c:pt>
                <c:pt idx="130">
                  <c:v>-0.04</c:v>
                </c:pt>
                <c:pt idx="131">
                  <c:v>-1.6E-2</c:v>
                </c:pt>
                <c:pt idx="132">
                  <c:v>-7.9000000000000001E-2</c:v>
                </c:pt>
                <c:pt idx="133">
                  <c:v>-0.107</c:v>
                </c:pt>
                <c:pt idx="134">
                  <c:v>-0.104</c:v>
                </c:pt>
                <c:pt idx="135">
                  <c:v>-8.8999999999999996E-2</c:v>
                </c:pt>
                <c:pt idx="136">
                  <c:v>-9.2999999999999999E-2</c:v>
                </c:pt>
                <c:pt idx="137">
                  <c:v>-9.8000000000000004E-2</c:v>
                </c:pt>
                <c:pt idx="138">
                  <c:v>-0.121</c:v>
                </c:pt>
                <c:pt idx="139">
                  <c:v>-0.129</c:v>
                </c:pt>
                <c:pt idx="140">
                  <c:v>-0.15</c:v>
                </c:pt>
                <c:pt idx="141">
                  <c:v>-0.17</c:v>
                </c:pt>
                <c:pt idx="142">
                  <c:v>-0.186</c:v>
                </c:pt>
                <c:pt idx="143">
                  <c:v>-0.17100000000000001</c:v>
                </c:pt>
                <c:pt idx="144">
                  <c:v>-0.20699999999999999</c:v>
                </c:pt>
                <c:pt idx="145">
                  <c:v>-0.20399999999999999</c:v>
                </c:pt>
                <c:pt idx="146">
                  <c:v>-0.192</c:v>
                </c:pt>
                <c:pt idx="147">
                  <c:v>-0.21</c:v>
                </c:pt>
                <c:pt idx="148">
                  <c:v>-0.21199999999999999</c:v>
                </c:pt>
                <c:pt idx="149">
                  <c:v>-0.21199999999999999</c:v>
                </c:pt>
                <c:pt idx="150">
                  <c:v>-0.224</c:v>
                </c:pt>
                <c:pt idx="151">
                  <c:v>-0.26</c:v>
                </c:pt>
                <c:pt idx="152">
                  <c:v>-0.254</c:v>
                </c:pt>
                <c:pt idx="153">
                  <c:v>-0.26600000000000001</c:v>
                </c:pt>
                <c:pt idx="154">
                  <c:v>-0.26400000000000001</c:v>
                </c:pt>
                <c:pt idx="155">
                  <c:v>-0.23400000000000001</c:v>
                </c:pt>
                <c:pt idx="156">
                  <c:v>-0.23599999999999999</c:v>
                </c:pt>
                <c:pt idx="157">
                  <c:v>-0.23499999999999999</c:v>
                </c:pt>
                <c:pt idx="158">
                  <c:v>-0.24</c:v>
                </c:pt>
                <c:pt idx="159">
                  <c:v>-0.23799999999999999</c:v>
                </c:pt>
                <c:pt idx="160">
                  <c:v>-0.245</c:v>
                </c:pt>
                <c:pt idx="161">
                  <c:v>-0.24299999999999999</c:v>
                </c:pt>
                <c:pt idx="162">
                  <c:v>-0.24299999999999999</c:v>
                </c:pt>
                <c:pt idx="163">
                  <c:v>-0.254</c:v>
                </c:pt>
                <c:pt idx="164">
                  <c:v>-0.26</c:v>
                </c:pt>
                <c:pt idx="165">
                  <c:v>-0.26500000000000001</c:v>
                </c:pt>
                <c:pt idx="166">
                  <c:v>-0.252</c:v>
                </c:pt>
                <c:pt idx="167">
                  <c:v>-0.248</c:v>
                </c:pt>
                <c:pt idx="168">
                  <c:v>-0.192</c:v>
                </c:pt>
                <c:pt idx="169">
                  <c:v>-0.17599999999999999</c:v>
                </c:pt>
                <c:pt idx="170">
                  <c:v>-0.19400000000000001</c:v>
                </c:pt>
                <c:pt idx="171">
                  <c:v>-0.21</c:v>
                </c:pt>
                <c:pt idx="172">
                  <c:v>-0.158</c:v>
                </c:pt>
                <c:pt idx="173">
                  <c:v>-0.15</c:v>
                </c:pt>
                <c:pt idx="174">
                  <c:v>-0.16</c:v>
                </c:pt>
                <c:pt idx="175">
                  <c:v>-0.14099999999999999</c:v>
                </c:pt>
                <c:pt idx="176">
                  <c:v>-0.14699999999999999</c:v>
                </c:pt>
                <c:pt idx="177">
                  <c:v>-9.7000000000000003E-2</c:v>
                </c:pt>
                <c:pt idx="178">
                  <c:v>-9.9000000000000005E-2</c:v>
                </c:pt>
                <c:pt idx="179">
                  <c:v>-0.15</c:v>
                </c:pt>
                <c:pt idx="180">
                  <c:v>-0.11899999999999999</c:v>
                </c:pt>
                <c:pt idx="181">
                  <c:v>-0.11600000000000001</c:v>
                </c:pt>
                <c:pt idx="182">
                  <c:v>-0.126</c:v>
                </c:pt>
                <c:pt idx="183">
                  <c:v>-0.09</c:v>
                </c:pt>
                <c:pt idx="184">
                  <c:v>-8.7999999999999995E-2</c:v>
                </c:pt>
                <c:pt idx="185">
                  <c:v>-6.9000000000000006E-2</c:v>
                </c:pt>
                <c:pt idx="186">
                  <c:v>-0.10299999999999999</c:v>
                </c:pt>
                <c:pt idx="187">
                  <c:v>-9.9000000000000005E-2</c:v>
                </c:pt>
                <c:pt idx="188">
                  <c:v>-0.105</c:v>
                </c:pt>
                <c:pt idx="189">
                  <c:v>-4.3999999999999997E-2</c:v>
                </c:pt>
                <c:pt idx="190">
                  <c:v>-1.2999999999999999E-2</c:v>
                </c:pt>
                <c:pt idx="191">
                  <c:v>-6.0000000000000001E-3</c:v>
                </c:pt>
                <c:pt idx="192">
                  <c:v>2.5999999999999999E-2</c:v>
                </c:pt>
                <c:pt idx="193">
                  <c:v>1.0999999999999999E-2</c:v>
                </c:pt>
                <c:pt idx="194">
                  <c:v>1.7999999999999999E-2</c:v>
                </c:pt>
                <c:pt idx="195">
                  <c:v>-3.0000000000000001E-3</c:v>
                </c:pt>
                <c:pt idx="196">
                  <c:v>0.01</c:v>
                </c:pt>
                <c:pt idx="197">
                  <c:v>3.2000000000000001E-2</c:v>
                </c:pt>
                <c:pt idx="198">
                  <c:v>0.04</c:v>
                </c:pt>
                <c:pt idx="199">
                  <c:v>3.4000000000000002E-2</c:v>
                </c:pt>
                <c:pt idx="200">
                  <c:v>6.5000000000000002E-2</c:v>
                </c:pt>
                <c:pt idx="201">
                  <c:v>9.7000000000000003E-2</c:v>
                </c:pt>
                <c:pt idx="202">
                  <c:v>0.127</c:v>
                </c:pt>
                <c:pt idx="203">
                  <c:v>8.7999999999999995E-2</c:v>
                </c:pt>
                <c:pt idx="204">
                  <c:v>2.5999999999999999E-2</c:v>
                </c:pt>
                <c:pt idx="205">
                  <c:v>0.05</c:v>
                </c:pt>
                <c:pt idx="206">
                  <c:v>6.9000000000000006E-2</c:v>
                </c:pt>
                <c:pt idx="207">
                  <c:v>0.115</c:v>
                </c:pt>
                <c:pt idx="208">
                  <c:v>9.2999999999999999E-2</c:v>
                </c:pt>
                <c:pt idx="209">
                  <c:v>0.124</c:v>
                </c:pt>
                <c:pt idx="210">
                  <c:v>0.11799999999999999</c:v>
                </c:pt>
                <c:pt idx="211">
                  <c:v>0.108</c:v>
                </c:pt>
                <c:pt idx="212">
                  <c:v>0.105</c:v>
                </c:pt>
                <c:pt idx="213">
                  <c:v>5.2999999999999999E-2</c:v>
                </c:pt>
                <c:pt idx="214">
                  <c:v>0.10100000000000001</c:v>
                </c:pt>
                <c:pt idx="215">
                  <c:v>0.14499999999999999</c:v>
                </c:pt>
                <c:pt idx="216">
                  <c:v>0.14299999999999999</c:v>
                </c:pt>
                <c:pt idx="217">
                  <c:v>6.9000000000000006E-2</c:v>
                </c:pt>
                <c:pt idx="218">
                  <c:v>6.0999999999999999E-2</c:v>
                </c:pt>
                <c:pt idx="219">
                  <c:v>-7.0000000000000001E-3</c:v>
                </c:pt>
                <c:pt idx="220">
                  <c:v>-6.3E-2</c:v>
                </c:pt>
                <c:pt idx="221">
                  <c:v>-2.7E-2</c:v>
                </c:pt>
                <c:pt idx="222">
                  <c:v>-8.2000000000000003E-2</c:v>
                </c:pt>
                <c:pt idx="223">
                  <c:v>-2.5000000000000001E-2</c:v>
                </c:pt>
                <c:pt idx="224">
                  <c:v>-1.0999999999999999E-2</c:v>
                </c:pt>
                <c:pt idx="225">
                  <c:v>-3.7999999999999999E-2</c:v>
                </c:pt>
                <c:pt idx="226">
                  <c:v>-1.0999999999999999E-2</c:v>
                </c:pt>
                <c:pt idx="227">
                  <c:v>-2.1999999999999999E-2</c:v>
                </c:pt>
                <c:pt idx="228">
                  <c:v>-1.7000000000000001E-2</c:v>
                </c:pt>
                <c:pt idx="229">
                  <c:v>-4.2999999999999997E-2</c:v>
                </c:pt>
                <c:pt idx="230">
                  <c:v>-9.8000000000000004E-2</c:v>
                </c:pt>
                <c:pt idx="231">
                  <c:v>-5.0999999999999997E-2</c:v>
                </c:pt>
                <c:pt idx="232">
                  <c:v>3.7999999999999999E-2</c:v>
                </c:pt>
                <c:pt idx="233">
                  <c:v>3.1E-2</c:v>
                </c:pt>
                <c:pt idx="234">
                  <c:v>2E-3</c:v>
                </c:pt>
                <c:pt idx="235">
                  <c:v>-7.8E-2</c:v>
                </c:pt>
                <c:pt idx="236">
                  <c:v>-5.8000000000000003E-2</c:v>
                </c:pt>
                <c:pt idx="237">
                  <c:v>-9.5000000000000001E-2</c:v>
                </c:pt>
                <c:pt idx="238">
                  <c:v>-8.6999999999999994E-2</c:v>
                </c:pt>
                <c:pt idx="239">
                  <c:v>-0.108</c:v>
                </c:pt>
                <c:pt idx="240">
                  <c:v>-0.13400000000000001</c:v>
                </c:pt>
                <c:pt idx="241">
                  <c:v>-0.13500000000000001</c:v>
                </c:pt>
                <c:pt idx="242">
                  <c:v>-0.124</c:v>
                </c:pt>
                <c:pt idx="243">
                  <c:v>-0.06</c:v>
                </c:pt>
                <c:pt idx="244">
                  <c:v>-9.9000000000000005E-2</c:v>
                </c:pt>
                <c:pt idx="245">
                  <c:v>-9.7000000000000003E-2</c:v>
                </c:pt>
                <c:pt idx="246">
                  <c:v>-0.13</c:v>
                </c:pt>
                <c:pt idx="247">
                  <c:v>-0.11899999999999999</c:v>
                </c:pt>
                <c:pt idx="248">
                  <c:v>-0.11</c:v>
                </c:pt>
                <c:pt idx="249">
                  <c:v>-9.6000000000000002E-2</c:v>
                </c:pt>
                <c:pt idx="250">
                  <c:v>-0.122</c:v>
                </c:pt>
                <c:pt idx="251">
                  <c:v>-0.114</c:v>
                </c:pt>
                <c:pt idx="252">
                  <c:v>-4.7E-2</c:v>
                </c:pt>
                <c:pt idx="253">
                  <c:v>-3.2000000000000001E-2</c:v>
                </c:pt>
                <c:pt idx="254">
                  <c:v>1.2999999999999999E-2</c:v>
                </c:pt>
                <c:pt idx="255">
                  <c:v>1.2E-2</c:v>
                </c:pt>
                <c:pt idx="256">
                  <c:v>2.1999999999999999E-2</c:v>
                </c:pt>
                <c:pt idx="257">
                  <c:v>2.3E-2</c:v>
                </c:pt>
                <c:pt idx="258">
                  <c:v>7.9000000000000001E-2</c:v>
                </c:pt>
                <c:pt idx="259">
                  <c:v>7.1999999999999995E-2</c:v>
                </c:pt>
                <c:pt idx="260">
                  <c:v>7.1999999999999995E-2</c:v>
                </c:pt>
                <c:pt idx="261">
                  <c:v>0.13400000000000001</c:v>
                </c:pt>
                <c:pt idx="262">
                  <c:v>0.126</c:v>
                </c:pt>
                <c:pt idx="263">
                  <c:v>0.123</c:v>
                </c:pt>
                <c:pt idx="264">
                  <c:v>0.151</c:v>
                </c:pt>
                <c:pt idx="265">
                  <c:v>0.17</c:v>
                </c:pt>
                <c:pt idx="266">
                  <c:v>0.17799999999999999</c:v>
                </c:pt>
                <c:pt idx="267">
                  <c:v>0.19</c:v>
                </c:pt>
                <c:pt idx="268">
                  <c:v>0.159</c:v>
                </c:pt>
                <c:pt idx="269">
                  <c:v>0.126</c:v>
                </c:pt>
                <c:pt idx="270">
                  <c:v>0.17199999999999999</c:v>
                </c:pt>
                <c:pt idx="271">
                  <c:v>0.19400000000000001</c:v>
                </c:pt>
                <c:pt idx="272">
                  <c:v>0.20599999999999999</c:v>
                </c:pt>
                <c:pt idx="273">
                  <c:v>0.217</c:v>
                </c:pt>
                <c:pt idx="274">
                  <c:v>0.20699999999999999</c:v>
                </c:pt>
                <c:pt idx="275">
                  <c:v>0.17100000000000001</c:v>
                </c:pt>
                <c:pt idx="276">
                  <c:v>0.13100000000000001</c:v>
                </c:pt>
                <c:pt idx="277">
                  <c:v>0.159</c:v>
                </c:pt>
                <c:pt idx="278">
                  <c:v>0.16600000000000001</c:v>
                </c:pt>
                <c:pt idx="279">
                  <c:v>0.183</c:v>
                </c:pt>
                <c:pt idx="280">
                  <c:v>0.19600000000000001</c:v>
                </c:pt>
                <c:pt idx="281">
                  <c:v>0.251</c:v>
                </c:pt>
                <c:pt idx="282">
                  <c:v>0.27800000000000002</c:v>
                </c:pt>
                <c:pt idx="283">
                  <c:v>0.27800000000000002</c:v>
                </c:pt>
                <c:pt idx="284">
                  <c:v>0.40300000000000002</c:v>
                </c:pt>
                <c:pt idx="285">
                  <c:v>0.49199999999999999</c:v>
                </c:pt>
                <c:pt idx="286">
                  <c:v>0.52300000000000002</c:v>
                </c:pt>
                <c:pt idx="287">
                  <c:v>0.56000000000000005</c:v>
                </c:pt>
                <c:pt idx="288">
                  <c:v>0.503</c:v>
                </c:pt>
                <c:pt idx="289">
                  <c:v>0.59</c:v>
                </c:pt>
                <c:pt idx="290">
                  <c:v>0.61699999999999999</c:v>
                </c:pt>
                <c:pt idx="291">
                  <c:v>0.61</c:v>
                </c:pt>
                <c:pt idx="292">
                  <c:v>0.63900000000000001</c:v>
                </c:pt>
                <c:pt idx="293">
                  <c:v>0.60399999999999998</c:v>
                </c:pt>
                <c:pt idx="294">
                  <c:v>0.55300000000000005</c:v>
                </c:pt>
                <c:pt idx="295">
                  <c:v>0.51900000000000002</c:v>
                </c:pt>
                <c:pt idx="296">
                  <c:v>0.54900000000000004</c:v>
                </c:pt>
                <c:pt idx="297">
                  <c:v>0.58299999999999996</c:v>
                </c:pt>
                <c:pt idx="298">
                  <c:v>0.57499999999999996</c:v>
                </c:pt>
                <c:pt idx="299">
                  <c:v>0.53500000000000003</c:v>
                </c:pt>
                <c:pt idx="300">
                  <c:v>0.57599999999999996</c:v>
                </c:pt>
                <c:pt idx="301">
                  <c:v>0.49399999999999999</c:v>
                </c:pt>
                <c:pt idx="302">
                  <c:v>0.28100000000000003</c:v>
                </c:pt>
                <c:pt idx="303">
                  <c:v>0.40100000000000002</c:v>
                </c:pt>
                <c:pt idx="304">
                  <c:v>0.41299999999999998</c:v>
                </c:pt>
                <c:pt idx="305">
                  <c:v>0.34699999999999998</c:v>
                </c:pt>
                <c:pt idx="306">
                  <c:v>0.39900000000000002</c:v>
                </c:pt>
                <c:pt idx="307">
                  <c:v>0.49199999999999999</c:v>
                </c:pt>
                <c:pt idx="308">
                  <c:v>0.59199999999999997</c:v>
                </c:pt>
                <c:pt idx="309">
                  <c:v>0.67100000000000004</c:v>
                </c:pt>
                <c:pt idx="310">
                  <c:v>0.65500000000000003</c:v>
                </c:pt>
                <c:pt idx="311">
                  <c:v>0.76800000000000002</c:v>
                </c:pt>
                <c:pt idx="312">
                  <c:v>0.72499999999999998</c:v>
                </c:pt>
                <c:pt idx="313">
                  <c:v>0.77700000000000002</c:v>
                </c:pt>
                <c:pt idx="314">
                  <c:v>0.76300000000000001</c:v>
                </c:pt>
                <c:pt idx="315">
                  <c:v>0.746</c:v>
                </c:pt>
                <c:pt idx="316">
                  <c:v>0.84199999999999997</c:v>
                </c:pt>
                <c:pt idx="317">
                  <c:v>0.874</c:v>
                </c:pt>
                <c:pt idx="318">
                  <c:v>0.80700000000000005</c:v>
                </c:pt>
                <c:pt idx="319">
                  <c:v>0.86899999999999999</c:v>
                </c:pt>
                <c:pt idx="320">
                  <c:v>0.91500000000000004</c:v>
                </c:pt>
                <c:pt idx="321">
                  <c:v>0.89200000000000002</c:v>
                </c:pt>
                <c:pt idx="322">
                  <c:v>0.95399999999999996</c:v>
                </c:pt>
                <c:pt idx="323">
                  <c:v>0.99199999999999999</c:v>
                </c:pt>
                <c:pt idx="324">
                  <c:v>0.99</c:v>
                </c:pt>
                <c:pt idx="325">
                  <c:v>1.0169999999999999</c:v>
                </c:pt>
                <c:pt idx="326">
                  <c:v>0.99099999999999999</c:v>
                </c:pt>
                <c:pt idx="327">
                  <c:v>1.123</c:v>
                </c:pt>
                <c:pt idx="328">
                  <c:v>1.1499999999999999</c:v>
                </c:pt>
                <c:pt idx="329">
                  <c:v>1.1879999999999999</c:v>
                </c:pt>
                <c:pt idx="330">
                  <c:v>1.23</c:v>
                </c:pt>
                <c:pt idx="331">
                  <c:v>1.3049999999999999</c:v>
                </c:pt>
                <c:pt idx="332">
                  <c:v>1.2729999999999999</c:v>
                </c:pt>
                <c:pt idx="333">
                  <c:v>1.2529999999999999</c:v>
                </c:pt>
                <c:pt idx="334">
                  <c:v>1.33</c:v>
                </c:pt>
                <c:pt idx="335">
                  <c:v>1.33</c:v>
                </c:pt>
                <c:pt idx="336">
                  <c:v>1.33</c:v>
                </c:pt>
                <c:pt idx="337">
                  <c:v>1.3720000000000001</c:v>
                </c:pt>
                <c:pt idx="338">
                  <c:v>1.3149999999999999</c:v>
                </c:pt>
                <c:pt idx="339">
                  <c:v>1.395</c:v>
                </c:pt>
                <c:pt idx="340">
                  <c:v>1.4219999999999999</c:v>
                </c:pt>
                <c:pt idx="341">
                  <c:v>1.2909999999999999</c:v>
                </c:pt>
                <c:pt idx="342">
                  <c:v>1.28</c:v>
                </c:pt>
                <c:pt idx="343">
                  <c:v>1.276</c:v>
                </c:pt>
                <c:pt idx="344">
                  <c:v>1.3839999999999999</c:v>
                </c:pt>
                <c:pt idx="345">
                  <c:v>1.42</c:v>
                </c:pt>
                <c:pt idx="346">
                  <c:v>1.4590000000000001</c:v>
                </c:pt>
                <c:pt idx="347">
                  <c:v>1.4730000000000001</c:v>
                </c:pt>
                <c:pt idx="348">
                  <c:v>1.48</c:v>
                </c:pt>
                <c:pt idx="349">
                  <c:v>1.5469999999999999</c:v>
                </c:pt>
                <c:pt idx="350">
                  <c:v>1.635</c:v>
                </c:pt>
                <c:pt idx="351">
                  <c:v>1.615</c:v>
                </c:pt>
                <c:pt idx="352">
                  <c:v>1.5109999999999999</c:v>
                </c:pt>
                <c:pt idx="353">
                  <c:v>1.4830000000000001</c:v>
                </c:pt>
                <c:pt idx="354">
                  <c:v>1.353</c:v>
                </c:pt>
                <c:pt idx="355">
                  <c:v>1.458</c:v>
                </c:pt>
                <c:pt idx="356">
                  <c:v>1.4490000000000001</c:v>
                </c:pt>
                <c:pt idx="357">
                  <c:v>1.554</c:v>
                </c:pt>
                <c:pt idx="358">
                  <c:v>1.538</c:v>
                </c:pt>
                <c:pt idx="359">
                  <c:v>1.4670000000000001</c:v>
                </c:pt>
                <c:pt idx="360">
                  <c:v>1.48</c:v>
                </c:pt>
                <c:pt idx="361">
                  <c:v>1.569</c:v>
                </c:pt>
                <c:pt idx="362">
                  <c:v>1.526</c:v>
                </c:pt>
                <c:pt idx="363">
                  <c:v>1.5009999999999999</c:v>
                </c:pt>
                <c:pt idx="364">
                  <c:v>1.542</c:v>
                </c:pt>
                <c:pt idx="365">
                  <c:v>1.506</c:v>
                </c:pt>
                <c:pt idx="366">
                  <c:v>1.5980000000000001</c:v>
                </c:pt>
                <c:pt idx="367">
                  <c:v>1.6659999999999999</c:v>
                </c:pt>
                <c:pt idx="368">
                  <c:v>1.734</c:v>
                </c:pt>
                <c:pt idx="369">
                  <c:v>1.786</c:v>
                </c:pt>
                <c:pt idx="370">
                  <c:v>1.819</c:v>
                </c:pt>
                <c:pt idx="371">
                  <c:v>1.8540000000000001</c:v>
                </c:pt>
                <c:pt idx="372">
                  <c:v>1.8140000000000001</c:v>
                </c:pt>
                <c:pt idx="373">
                  <c:v>1.867</c:v>
                </c:pt>
                <c:pt idx="374">
                  <c:v>1.952</c:v>
                </c:pt>
                <c:pt idx="375">
                  <c:v>2.0619999999999998</c:v>
                </c:pt>
                <c:pt idx="376">
                  <c:v>2.2450000000000001</c:v>
                </c:pt>
                <c:pt idx="377">
                  <c:v>2.363</c:v>
                </c:pt>
                <c:pt idx="378">
                  <c:v>2.2160000000000002</c:v>
                </c:pt>
                <c:pt idx="379">
                  <c:v>2.2730000000000001</c:v>
                </c:pt>
                <c:pt idx="380">
                  <c:v>2.2069999999999999</c:v>
                </c:pt>
                <c:pt idx="381">
                  <c:v>2.2989999999999999</c:v>
                </c:pt>
                <c:pt idx="382">
                  <c:v>2.3220000000000001</c:v>
                </c:pt>
                <c:pt idx="383">
                  <c:v>2.1779999999999999</c:v>
                </c:pt>
                <c:pt idx="384">
                  <c:v>1.9670000000000001</c:v>
                </c:pt>
                <c:pt idx="385">
                  <c:v>1.9710000000000001</c:v>
                </c:pt>
                <c:pt idx="386">
                  <c:v>2.0830000000000002</c:v>
                </c:pt>
                <c:pt idx="387">
                  <c:v>2.1709999999999998</c:v>
                </c:pt>
                <c:pt idx="388">
                  <c:v>2.0630000000000002</c:v>
                </c:pt>
                <c:pt idx="389">
                  <c:v>1.899</c:v>
                </c:pt>
                <c:pt idx="390">
                  <c:v>1.7889999999999999</c:v>
                </c:pt>
                <c:pt idx="391">
                  <c:v>1.893</c:v>
                </c:pt>
                <c:pt idx="392">
                  <c:v>1.7769999999999999</c:v>
                </c:pt>
                <c:pt idx="393">
                  <c:v>1.7589999999999999</c:v>
                </c:pt>
                <c:pt idx="394">
                  <c:v>1.87</c:v>
                </c:pt>
                <c:pt idx="395">
                  <c:v>1.8939999999999999</c:v>
                </c:pt>
                <c:pt idx="396">
                  <c:v>1.7929999999999999</c:v>
                </c:pt>
                <c:pt idx="397">
                  <c:v>1.6739999999999999</c:v>
                </c:pt>
                <c:pt idx="398">
                  <c:v>1.6870000000000001</c:v>
                </c:pt>
                <c:pt idx="399">
                  <c:v>1.726</c:v>
                </c:pt>
                <c:pt idx="400">
                  <c:v>1.6859999999999999</c:v>
                </c:pt>
                <c:pt idx="401">
                  <c:v>1.766</c:v>
                </c:pt>
                <c:pt idx="402">
                  <c:v>1.8049999999999999</c:v>
                </c:pt>
                <c:pt idx="403">
                  <c:v>1.7789999999999999</c:v>
                </c:pt>
                <c:pt idx="404">
                  <c:v>1.76</c:v>
                </c:pt>
                <c:pt idx="405">
                  <c:v>1.5620000000000001</c:v>
                </c:pt>
                <c:pt idx="406">
                  <c:v>1.5529999999999999</c:v>
                </c:pt>
                <c:pt idx="407">
                  <c:v>1.4610000000000001</c:v>
                </c:pt>
                <c:pt idx="408">
                  <c:v>1.4790000000000001</c:v>
                </c:pt>
                <c:pt idx="409">
                  <c:v>1.36</c:v>
                </c:pt>
                <c:pt idx="410">
                  <c:v>1.335</c:v>
                </c:pt>
                <c:pt idx="411">
                  <c:v>1.298</c:v>
                </c:pt>
                <c:pt idx="412">
                  <c:v>1.365</c:v>
                </c:pt>
                <c:pt idx="413">
                  <c:v>1.4179999999999999</c:v>
                </c:pt>
                <c:pt idx="414">
                  <c:v>1.3380000000000001</c:v>
                </c:pt>
                <c:pt idx="415">
                  <c:v>1.4850000000000001</c:v>
                </c:pt>
                <c:pt idx="416">
                  <c:v>1.4379999999999999</c:v>
                </c:pt>
                <c:pt idx="417">
                  <c:v>1.4419999999999999</c:v>
                </c:pt>
                <c:pt idx="418">
                  <c:v>1.421</c:v>
                </c:pt>
                <c:pt idx="419">
                  <c:v>1.51</c:v>
                </c:pt>
                <c:pt idx="420">
                  <c:v>1.5169999999999999</c:v>
                </c:pt>
                <c:pt idx="421">
                  <c:v>1.4319999999999999</c:v>
                </c:pt>
                <c:pt idx="422">
                  <c:v>1.5069999999999999</c:v>
                </c:pt>
                <c:pt idx="423">
                  <c:v>1.627</c:v>
                </c:pt>
                <c:pt idx="424">
                  <c:v>1.657</c:v>
                </c:pt>
                <c:pt idx="425">
                  <c:v>1.794</c:v>
                </c:pt>
                <c:pt idx="426">
                  <c:v>1.879</c:v>
                </c:pt>
                <c:pt idx="427">
                  <c:v>1.9079999999999999</c:v>
                </c:pt>
                <c:pt idx="428">
                  <c:v>1.97</c:v>
                </c:pt>
                <c:pt idx="429">
                  <c:v>1.9219999999999999</c:v>
                </c:pt>
                <c:pt idx="430">
                  <c:v>2.012</c:v>
                </c:pt>
                <c:pt idx="431">
                  <c:v>2.1269999999999998</c:v>
                </c:pt>
                <c:pt idx="432">
                  <c:v>2.1309999999999998</c:v>
                </c:pt>
                <c:pt idx="433">
                  <c:v>2.16</c:v>
                </c:pt>
                <c:pt idx="434">
                  <c:v>2.181</c:v>
                </c:pt>
                <c:pt idx="435">
                  <c:v>2.1419999999999999</c:v>
                </c:pt>
                <c:pt idx="436">
                  <c:v>2.2000000000000002</c:v>
                </c:pt>
                <c:pt idx="437">
                  <c:v>2.2589999999999999</c:v>
                </c:pt>
                <c:pt idx="438">
                  <c:v>2.194</c:v>
                </c:pt>
                <c:pt idx="439">
                  <c:v>2.3130000000000002</c:v>
                </c:pt>
                <c:pt idx="440">
                  <c:v>2.2959999999999998</c:v>
                </c:pt>
                <c:pt idx="441">
                  <c:v>2.2509999999999999</c:v>
                </c:pt>
                <c:pt idx="442">
                  <c:v>2.3330000000000002</c:v>
                </c:pt>
                <c:pt idx="443">
                  <c:v>2.327</c:v>
                </c:pt>
                <c:pt idx="444">
                  <c:v>2.3849999999999998</c:v>
                </c:pt>
                <c:pt idx="445">
                  <c:v>2.3559999999999999</c:v>
                </c:pt>
                <c:pt idx="446">
                  <c:v>2.4009999999999998</c:v>
                </c:pt>
                <c:pt idx="447">
                  <c:v>2.5129999999999999</c:v>
                </c:pt>
                <c:pt idx="448">
                  <c:v>2.4889999999999999</c:v>
                </c:pt>
                <c:pt idx="449">
                  <c:v>2.5579999999999998</c:v>
                </c:pt>
                <c:pt idx="450">
                  <c:v>2.617</c:v>
                </c:pt>
                <c:pt idx="451">
                  <c:v>2.7240000000000002</c:v>
                </c:pt>
                <c:pt idx="452">
                  <c:v>2.843</c:v>
                </c:pt>
                <c:pt idx="453">
                  <c:v>2.7589999999999999</c:v>
                </c:pt>
                <c:pt idx="454">
                  <c:v>2.8380000000000001</c:v>
                </c:pt>
                <c:pt idx="455">
                  <c:v>2.8050000000000002</c:v>
                </c:pt>
                <c:pt idx="456">
                  <c:v>2.6139999999999999</c:v>
                </c:pt>
                <c:pt idx="457">
                  <c:v>2.5379999999999998</c:v>
                </c:pt>
                <c:pt idx="458">
                  <c:v>2.6989999999999998</c:v>
                </c:pt>
                <c:pt idx="459">
                  <c:v>2.75</c:v>
                </c:pt>
                <c:pt idx="460">
                  <c:v>2.8780000000000001</c:v>
                </c:pt>
                <c:pt idx="461">
                  <c:v>3.0259999999999998</c:v>
                </c:pt>
                <c:pt idx="462">
                  <c:v>3.02</c:v>
                </c:pt>
                <c:pt idx="463">
                  <c:v>3.0270000000000001</c:v>
                </c:pt>
                <c:pt idx="464">
                  <c:v>2.976</c:v>
                </c:pt>
                <c:pt idx="465">
                  <c:v>3.0539999999999998</c:v>
                </c:pt>
                <c:pt idx="466">
                  <c:v>2.9830000000000001</c:v>
                </c:pt>
                <c:pt idx="467">
                  <c:v>2.99</c:v>
                </c:pt>
                <c:pt idx="468">
                  <c:v>3.0910000000000002</c:v>
                </c:pt>
                <c:pt idx="469">
                  <c:v>3.1120000000000001</c:v>
                </c:pt>
                <c:pt idx="470">
                  <c:v>3.1219999999999999</c:v>
                </c:pt>
                <c:pt idx="471">
                  <c:v>3.0329999999999999</c:v>
                </c:pt>
                <c:pt idx="472">
                  <c:v>2.8889999999999998</c:v>
                </c:pt>
                <c:pt idx="473">
                  <c:v>2.823</c:v>
                </c:pt>
                <c:pt idx="474">
                  <c:v>2.6429999999999998</c:v>
                </c:pt>
                <c:pt idx="475">
                  <c:v>2.7639999999999998</c:v>
                </c:pt>
                <c:pt idx="476">
                  <c:v>2.8050000000000002</c:v>
                </c:pt>
                <c:pt idx="477">
                  <c:v>2.827</c:v>
                </c:pt>
                <c:pt idx="478">
                  <c:v>2.8149999999999999</c:v>
                </c:pt>
                <c:pt idx="479">
                  <c:v>2.92</c:v>
                </c:pt>
                <c:pt idx="480">
                  <c:v>2.97</c:v>
                </c:pt>
                <c:pt idx="481">
                  <c:v>3.0059999999999998</c:v>
                </c:pt>
                <c:pt idx="482">
                  <c:v>2.9159999999999999</c:v>
                </c:pt>
                <c:pt idx="483">
                  <c:v>2.8010000000000002</c:v>
                </c:pt>
                <c:pt idx="484">
                  <c:v>2.64</c:v>
                </c:pt>
                <c:pt idx="485">
                  <c:v>2.7530000000000001</c:v>
                </c:pt>
                <c:pt idx="486">
                  <c:v>2.7389999999999999</c:v>
                </c:pt>
                <c:pt idx="487">
                  <c:v>2.702</c:v>
                </c:pt>
                <c:pt idx="488">
                  <c:v>2.5779999999999998</c:v>
                </c:pt>
                <c:pt idx="489">
                  <c:v>2.593</c:v>
                </c:pt>
                <c:pt idx="490">
                  <c:v>2.5910000000000002</c:v>
                </c:pt>
                <c:pt idx="491">
                  <c:v>2.57</c:v>
                </c:pt>
                <c:pt idx="492">
                  <c:v>2.536</c:v>
                </c:pt>
                <c:pt idx="493">
                  <c:v>2.492</c:v>
                </c:pt>
                <c:pt idx="494">
                  <c:v>2.4079999999999999</c:v>
                </c:pt>
                <c:pt idx="495">
                  <c:v>2.5430000000000001</c:v>
                </c:pt>
                <c:pt idx="496">
                  <c:v>2.569</c:v>
                </c:pt>
                <c:pt idx="497">
                  <c:v>2.504</c:v>
                </c:pt>
                <c:pt idx="498">
                  <c:v>2.5209999999999999</c:v>
                </c:pt>
                <c:pt idx="499">
                  <c:v>2.4</c:v>
                </c:pt>
                <c:pt idx="500">
                  <c:v>2.44</c:v>
                </c:pt>
                <c:pt idx="501">
                  <c:v>2.464</c:v>
                </c:pt>
                <c:pt idx="502">
                  <c:v>2.3849999999999998</c:v>
                </c:pt>
                <c:pt idx="503">
                  <c:v>2.375</c:v>
                </c:pt>
                <c:pt idx="504">
                  <c:v>2.4079999999999999</c:v>
                </c:pt>
                <c:pt idx="505">
                  <c:v>2.5230000000000001</c:v>
                </c:pt>
                <c:pt idx="506">
                  <c:v>2.528</c:v>
                </c:pt>
                <c:pt idx="507">
                  <c:v>2.5139999999999998</c:v>
                </c:pt>
                <c:pt idx="508">
                  <c:v>2.5299999999999998</c:v>
                </c:pt>
                <c:pt idx="509">
                  <c:v>2.68</c:v>
                </c:pt>
                <c:pt idx="510">
                  <c:v>2.7669999999999999</c:v>
                </c:pt>
                <c:pt idx="511">
                  <c:v>2.8130000000000002</c:v>
                </c:pt>
                <c:pt idx="512">
                  <c:v>2.9140000000000001</c:v>
                </c:pt>
                <c:pt idx="513">
                  <c:v>2.915</c:v>
                </c:pt>
                <c:pt idx="514">
                  <c:v>2.9620000000000002</c:v>
                </c:pt>
                <c:pt idx="515">
                  <c:v>2.9380000000000002</c:v>
                </c:pt>
                <c:pt idx="516">
                  <c:v>2.9380000000000002</c:v>
                </c:pt>
                <c:pt idx="517">
                  <c:v>3.1230000000000002</c:v>
                </c:pt>
                <c:pt idx="518">
                  <c:v>3.1059999999999999</c:v>
                </c:pt>
                <c:pt idx="519">
                  <c:v>3.044</c:v>
                </c:pt>
                <c:pt idx="520">
                  <c:v>3.17</c:v>
                </c:pt>
                <c:pt idx="521">
                  <c:v>3.0449999999999999</c:v>
                </c:pt>
                <c:pt idx="522">
                  <c:v>3.0110000000000001</c:v>
                </c:pt>
                <c:pt idx="523">
                  <c:v>2.8639999999999999</c:v>
                </c:pt>
                <c:pt idx="524">
                  <c:v>2.9129999999999998</c:v>
                </c:pt>
                <c:pt idx="525">
                  <c:v>2.8079999999999998</c:v>
                </c:pt>
                <c:pt idx="526">
                  <c:v>2.831</c:v>
                </c:pt>
                <c:pt idx="527">
                  <c:v>2.8730000000000002</c:v>
                </c:pt>
              </c:numCache>
            </c:numRef>
          </c:val>
          <c:smooth val="0"/>
          <c:extLst>
            <c:ext xmlns:c16="http://schemas.microsoft.com/office/drawing/2014/chart" uri="{C3380CC4-5D6E-409C-BE32-E72D297353CC}">
              <c16:uniqueId val="{00000001-B517-4AE2-8579-2E259B148CE8}"/>
            </c:ext>
          </c:extLst>
        </c:ser>
        <c:ser>
          <c:idx val="1"/>
          <c:order val="1"/>
          <c:tx>
            <c:v>10J Bund Rendite (mid)</c:v>
          </c:tx>
          <c:spPr>
            <a:ln w="28575" cap="rnd">
              <a:solidFill>
                <a:schemeClr val="accent2"/>
              </a:solidFill>
              <a:round/>
            </a:ln>
            <a:effectLst/>
          </c:spPr>
          <c:marker>
            <c:symbol val="none"/>
          </c:marker>
          <c:cat>
            <c:numRef>
              <c:f>'10y RAGB time series'!$A$791:$A$1317</c:f>
              <c:numCache>
                <c:formatCode>mm/dd/yyyy</c:formatCode>
                <c:ptCount val="527"/>
                <c:pt idx="0">
                  <c:v>44200</c:v>
                </c:pt>
                <c:pt idx="1">
                  <c:v>44201</c:v>
                </c:pt>
                <c:pt idx="2">
                  <c:v>44202</c:v>
                </c:pt>
                <c:pt idx="3">
                  <c:v>44203</c:v>
                </c:pt>
                <c:pt idx="4">
                  <c:v>44204</c:v>
                </c:pt>
                <c:pt idx="5">
                  <c:v>44207</c:v>
                </c:pt>
                <c:pt idx="6">
                  <c:v>44208</c:v>
                </c:pt>
                <c:pt idx="7">
                  <c:v>44209</c:v>
                </c:pt>
                <c:pt idx="8">
                  <c:v>44210</c:v>
                </c:pt>
                <c:pt idx="9">
                  <c:v>44211</c:v>
                </c:pt>
                <c:pt idx="10">
                  <c:v>44214</c:v>
                </c:pt>
                <c:pt idx="11">
                  <c:v>44215</c:v>
                </c:pt>
                <c:pt idx="12">
                  <c:v>44216</c:v>
                </c:pt>
                <c:pt idx="13">
                  <c:v>44217</c:v>
                </c:pt>
                <c:pt idx="14">
                  <c:v>44218</c:v>
                </c:pt>
                <c:pt idx="15">
                  <c:v>44221</c:v>
                </c:pt>
                <c:pt idx="16">
                  <c:v>44222</c:v>
                </c:pt>
                <c:pt idx="17">
                  <c:v>44223</c:v>
                </c:pt>
                <c:pt idx="18">
                  <c:v>44224</c:v>
                </c:pt>
                <c:pt idx="19">
                  <c:v>44225</c:v>
                </c:pt>
                <c:pt idx="20">
                  <c:v>44228</c:v>
                </c:pt>
                <c:pt idx="21">
                  <c:v>44229</c:v>
                </c:pt>
                <c:pt idx="22">
                  <c:v>44230</c:v>
                </c:pt>
                <c:pt idx="23">
                  <c:v>44231</c:v>
                </c:pt>
                <c:pt idx="24">
                  <c:v>44232</c:v>
                </c:pt>
                <c:pt idx="25">
                  <c:v>44235</c:v>
                </c:pt>
                <c:pt idx="26">
                  <c:v>44236</c:v>
                </c:pt>
                <c:pt idx="27">
                  <c:v>44237</c:v>
                </c:pt>
                <c:pt idx="28">
                  <c:v>44238</c:v>
                </c:pt>
                <c:pt idx="29">
                  <c:v>44239</c:v>
                </c:pt>
                <c:pt idx="30">
                  <c:v>44242</c:v>
                </c:pt>
                <c:pt idx="31">
                  <c:v>44243</c:v>
                </c:pt>
                <c:pt idx="32">
                  <c:v>44244</c:v>
                </c:pt>
                <c:pt idx="33">
                  <c:v>44245</c:v>
                </c:pt>
                <c:pt idx="34">
                  <c:v>44246</c:v>
                </c:pt>
                <c:pt idx="35">
                  <c:v>44249</c:v>
                </c:pt>
                <c:pt idx="36">
                  <c:v>44250</c:v>
                </c:pt>
                <c:pt idx="37">
                  <c:v>44251</c:v>
                </c:pt>
                <c:pt idx="38">
                  <c:v>44252</c:v>
                </c:pt>
                <c:pt idx="39">
                  <c:v>44253</c:v>
                </c:pt>
                <c:pt idx="40">
                  <c:v>44256</c:v>
                </c:pt>
                <c:pt idx="41">
                  <c:v>44257</c:v>
                </c:pt>
                <c:pt idx="42">
                  <c:v>44258</c:v>
                </c:pt>
                <c:pt idx="43">
                  <c:v>44259</c:v>
                </c:pt>
                <c:pt idx="44">
                  <c:v>44260</c:v>
                </c:pt>
                <c:pt idx="45">
                  <c:v>44263</c:v>
                </c:pt>
                <c:pt idx="46">
                  <c:v>44264</c:v>
                </c:pt>
                <c:pt idx="47">
                  <c:v>44265</c:v>
                </c:pt>
                <c:pt idx="48">
                  <c:v>44266</c:v>
                </c:pt>
                <c:pt idx="49">
                  <c:v>44267</c:v>
                </c:pt>
                <c:pt idx="50">
                  <c:v>44270</c:v>
                </c:pt>
                <c:pt idx="51">
                  <c:v>44271</c:v>
                </c:pt>
                <c:pt idx="52">
                  <c:v>44272</c:v>
                </c:pt>
                <c:pt idx="53">
                  <c:v>44273</c:v>
                </c:pt>
                <c:pt idx="54">
                  <c:v>44274</c:v>
                </c:pt>
                <c:pt idx="55">
                  <c:v>44277</c:v>
                </c:pt>
                <c:pt idx="56">
                  <c:v>44278</c:v>
                </c:pt>
                <c:pt idx="57">
                  <c:v>44279</c:v>
                </c:pt>
                <c:pt idx="58">
                  <c:v>44280</c:v>
                </c:pt>
                <c:pt idx="59">
                  <c:v>44281</c:v>
                </c:pt>
                <c:pt idx="60">
                  <c:v>44284</c:v>
                </c:pt>
                <c:pt idx="61">
                  <c:v>44285</c:v>
                </c:pt>
                <c:pt idx="62">
                  <c:v>44286</c:v>
                </c:pt>
                <c:pt idx="63">
                  <c:v>44287</c:v>
                </c:pt>
                <c:pt idx="64">
                  <c:v>44288</c:v>
                </c:pt>
                <c:pt idx="65">
                  <c:v>44291</c:v>
                </c:pt>
                <c:pt idx="66">
                  <c:v>44292</c:v>
                </c:pt>
                <c:pt idx="67">
                  <c:v>44293</c:v>
                </c:pt>
                <c:pt idx="68">
                  <c:v>44294</c:v>
                </c:pt>
                <c:pt idx="69">
                  <c:v>44295</c:v>
                </c:pt>
                <c:pt idx="70">
                  <c:v>44298</c:v>
                </c:pt>
                <c:pt idx="71">
                  <c:v>44299</c:v>
                </c:pt>
                <c:pt idx="72">
                  <c:v>44300</c:v>
                </c:pt>
                <c:pt idx="73">
                  <c:v>44301</c:v>
                </c:pt>
                <c:pt idx="74">
                  <c:v>44302</c:v>
                </c:pt>
                <c:pt idx="75">
                  <c:v>44305</c:v>
                </c:pt>
                <c:pt idx="76">
                  <c:v>44306</c:v>
                </c:pt>
                <c:pt idx="77">
                  <c:v>44307</c:v>
                </c:pt>
                <c:pt idx="78">
                  <c:v>44308</c:v>
                </c:pt>
                <c:pt idx="79">
                  <c:v>44309</c:v>
                </c:pt>
                <c:pt idx="80">
                  <c:v>44312</c:v>
                </c:pt>
                <c:pt idx="81">
                  <c:v>44313</c:v>
                </c:pt>
                <c:pt idx="82">
                  <c:v>44314</c:v>
                </c:pt>
                <c:pt idx="83">
                  <c:v>44315</c:v>
                </c:pt>
                <c:pt idx="84">
                  <c:v>44316</c:v>
                </c:pt>
                <c:pt idx="85">
                  <c:v>44319</c:v>
                </c:pt>
                <c:pt idx="86">
                  <c:v>44320</c:v>
                </c:pt>
                <c:pt idx="87">
                  <c:v>44321</c:v>
                </c:pt>
                <c:pt idx="88">
                  <c:v>44322</c:v>
                </c:pt>
                <c:pt idx="89">
                  <c:v>44323</c:v>
                </c:pt>
                <c:pt idx="90">
                  <c:v>44326</c:v>
                </c:pt>
                <c:pt idx="91">
                  <c:v>44327</c:v>
                </c:pt>
                <c:pt idx="92">
                  <c:v>44328</c:v>
                </c:pt>
                <c:pt idx="93">
                  <c:v>44329</c:v>
                </c:pt>
                <c:pt idx="94">
                  <c:v>44330</c:v>
                </c:pt>
                <c:pt idx="95">
                  <c:v>44333</c:v>
                </c:pt>
                <c:pt idx="96">
                  <c:v>44334</c:v>
                </c:pt>
                <c:pt idx="97">
                  <c:v>44335</c:v>
                </c:pt>
                <c:pt idx="98">
                  <c:v>44336</c:v>
                </c:pt>
                <c:pt idx="99">
                  <c:v>44337</c:v>
                </c:pt>
                <c:pt idx="100">
                  <c:v>44340</c:v>
                </c:pt>
                <c:pt idx="101">
                  <c:v>44341</c:v>
                </c:pt>
                <c:pt idx="102">
                  <c:v>44342</c:v>
                </c:pt>
                <c:pt idx="103">
                  <c:v>44343</c:v>
                </c:pt>
                <c:pt idx="104">
                  <c:v>44344</c:v>
                </c:pt>
                <c:pt idx="105">
                  <c:v>44347</c:v>
                </c:pt>
                <c:pt idx="106">
                  <c:v>44348</c:v>
                </c:pt>
                <c:pt idx="107">
                  <c:v>44349</c:v>
                </c:pt>
                <c:pt idx="108">
                  <c:v>44350</c:v>
                </c:pt>
                <c:pt idx="109">
                  <c:v>44351</c:v>
                </c:pt>
                <c:pt idx="110">
                  <c:v>44354</c:v>
                </c:pt>
                <c:pt idx="111">
                  <c:v>44355</c:v>
                </c:pt>
                <c:pt idx="112">
                  <c:v>44356</c:v>
                </c:pt>
                <c:pt idx="113">
                  <c:v>44357</c:v>
                </c:pt>
                <c:pt idx="114">
                  <c:v>44358</c:v>
                </c:pt>
                <c:pt idx="115">
                  <c:v>44361</c:v>
                </c:pt>
                <c:pt idx="116">
                  <c:v>44362</c:v>
                </c:pt>
                <c:pt idx="117">
                  <c:v>44363</c:v>
                </c:pt>
                <c:pt idx="118">
                  <c:v>44364</c:v>
                </c:pt>
                <c:pt idx="119">
                  <c:v>44365</c:v>
                </c:pt>
                <c:pt idx="120">
                  <c:v>44368</c:v>
                </c:pt>
                <c:pt idx="121">
                  <c:v>44369</c:v>
                </c:pt>
                <c:pt idx="122">
                  <c:v>44370</c:v>
                </c:pt>
                <c:pt idx="123">
                  <c:v>44371</c:v>
                </c:pt>
                <c:pt idx="124">
                  <c:v>44372</c:v>
                </c:pt>
                <c:pt idx="125">
                  <c:v>44375</c:v>
                </c:pt>
                <c:pt idx="126">
                  <c:v>44376</c:v>
                </c:pt>
                <c:pt idx="127">
                  <c:v>44377</c:v>
                </c:pt>
                <c:pt idx="128">
                  <c:v>44378</c:v>
                </c:pt>
                <c:pt idx="129">
                  <c:v>44379</c:v>
                </c:pt>
                <c:pt idx="130">
                  <c:v>44382</c:v>
                </c:pt>
                <c:pt idx="131">
                  <c:v>44383</c:v>
                </c:pt>
                <c:pt idx="132">
                  <c:v>44384</c:v>
                </c:pt>
                <c:pt idx="133">
                  <c:v>44385</c:v>
                </c:pt>
                <c:pt idx="134">
                  <c:v>44386</c:v>
                </c:pt>
                <c:pt idx="135">
                  <c:v>44389</c:v>
                </c:pt>
                <c:pt idx="136">
                  <c:v>44390</c:v>
                </c:pt>
                <c:pt idx="137">
                  <c:v>44391</c:v>
                </c:pt>
                <c:pt idx="138">
                  <c:v>44392</c:v>
                </c:pt>
                <c:pt idx="139">
                  <c:v>44393</c:v>
                </c:pt>
                <c:pt idx="140">
                  <c:v>44396</c:v>
                </c:pt>
                <c:pt idx="141">
                  <c:v>44397</c:v>
                </c:pt>
                <c:pt idx="142">
                  <c:v>44398</c:v>
                </c:pt>
                <c:pt idx="143">
                  <c:v>44399</c:v>
                </c:pt>
                <c:pt idx="144">
                  <c:v>44400</c:v>
                </c:pt>
                <c:pt idx="145">
                  <c:v>44403</c:v>
                </c:pt>
                <c:pt idx="146">
                  <c:v>44404</c:v>
                </c:pt>
                <c:pt idx="147">
                  <c:v>44405</c:v>
                </c:pt>
                <c:pt idx="148">
                  <c:v>44406</c:v>
                </c:pt>
                <c:pt idx="149">
                  <c:v>44407</c:v>
                </c:pt>
                <c:pt idx="150">
                  <c:v>44410</c:v>
                </c:pt>
                <c:pt idx="151">
                  <c:v>44411</c:v>
                </c:pt>
                <c:pt idx="152">
                  <c:v>44412</c:v>
                </c:pt>
                <c:pt idx="153">
                  <c:v>44413</c:v>
                </c:pt>
                <c:pt idx="154">
                  <c:v>44414</c:v>
                </c:pt>
                <c:pt idx="155">
                  <c:v>44417</c:v>
                </c:pt>
                <c:pt idx="156">
                  <c:v>44418</c:v>
                </c:pt>
                <c:pt idx="157">
                  <c:v>44419</c:v>
                </c:pt>
                <c:pt idx="158">
                  <c:v>44420</c:v>
                </c:pt>
                <c:pt idx="159">
                  <c:v>44421</c:v>
                </c:pt>
                <c:pt idx="160">
                  <c:v>44424</c:v>
                </c:pt>
                <c:pt idx="161">
                  <c:v>44425</c:v>
                </c:pt>
                <c:pt idx="162">
                  <c:v>44426</c:v>
                </c:pt>
                <c:pt idx="163">
                  <c:v>44427</c:v>
                </c:pt>
                <c:pt idx="164">
                  <c:v>44428</c:v>
                </c:pt>
                <c:pt idx="165">
                  <c:v>44431</c:v>
                </c:pt>
                <c:pt idx="166">
                  <c:v>44432</c:v>
                </c:pt>
                <c:pt idx="167">
                  <c:v>44433</c:v>
                </c:pt>
                <c:pt idx="168">
                  <c:v>44434</c:v>
                </c:pt>
                <c:pt idx="169">
                  <c:v>44435</c:v>
                </c:pt>
                <c:pt idx="170">
                  <c:v>44438</c:v>
                </c:pt>
                <c:pt idx="171">
                  <c:v>44439</c:v>
                </c:pt>
                <c:pt idx="172">
                  <c:v>44440</c:v>
                </c:pt>
                <c:pt idx="173">
                  <c:v>44441</c:v>
                </c:pt>
                <c:pt idx="174">
                  <c:v>44442</c:v>
                </c:pt>
                <c:pt idx="175">
                  <c:v>44445</c:v>
                </c:pt>
                <c:pt idx="176">
                  <c:v>44446</c:v>
                </c:pt>
                <c:pt idx="177">
                  <c:v>44447</c:v>
                </c:pt>
                <c:pt idx="178">
                  <c:v>44448</c:v>
                </c:pt>
                <c:pt idx="179">
                  <c:v>44449</c:v>
                </c:pt>
                <c:pt idx="180">
                  <c:v>44452</c:v>
                </c:pt>
                <c:pt idx="181">
                  <c:v>44453</c:v>
                </c:pt>
                <c:pt idx="182">
                  <c:v>44454</c:v>
                </c:pt>
                <c:pt idx="183">
                  <c:v>44455</c:v>
                </c:pt>
                <c:pt idx="184">
                  <c:v>44456</c:v>
                </c:pt>
                <c:pt idx="185">
                  <c:v>44459</c:v>
                </c:pt>
                <c:pt idx="186">
                  <c:v>44460</c:v>
                </c:pt>
                <c:pt idx="187">
                  <c:v>44461</c:v>
                </c:pt>
                <c:pt idx="188">
                  <c:v>44462</c:v>
                </c:pt>
                <c:pt idx="189">
                  <c:v>44463</c:v>
                </c:pt>
                <c:pt idx="190">
                  <c:v>44466</c:v>
                </c:pt>
                <c:pt idx="191">
                  <c:v>44467</c:v>
                </c:pt>
                <c:pt idx="192">
                  <c:v>44468</c:v>
                </c:pt>
                <c:pt idx="193">
                  <c:v>44469</c:v>
                </c:pt>
                <c:pt idx="194">
                  <c:v>44470</c:v>
                </c:pt>
                <c:pt idx="195">
                  <c:v>44473</c:v>
                </c:pt>
                <c:pt idx="196">
                  <c:v>44474</c:v>
                </c:pt>
                <c:pt idx="197">
                  <c:v>44475</c:v>
                </c:pt>
                <c:pt idx="198">
                  <c:v>44476</c:v>
                </c:pt>
                <c:pt idx="199">
                  <c:v>44477</c:v>
                </c:pt>
                <c:pt idx="200">
                  <c:v>44480</c:v>
                </c:pt>
                <c:pt idx="201">
                  <c:v>44481</c:v>
                </c:pt>
                <c:pt idx="202">
                  <c:v>44482</c:v>
                </c:pt>
                <c:pt idx="203">
                  <c:v>44483</c:v>
                </c:pt>
                <c:pt idx="204">
                  <c:v>44484</c:v>
                </c:pt>
                <c:pt idx="205">
                  <c:v>44487</c:v>
                </c:pt>
                <c:pt idx="206">
                  <c:v>44488</c:v>
                </c:pt>
                <c:pt idx="207">
                  <c:v>44489</c:v>
                </c:pt>
                <c:pt idx="208">
                  <c:v>44490</c:v>
                </c:pt>
                <c:pt idx="209">
                  <c:v>44491</c:v>
                </c:pt>
                <c:pt idx="210">
                  <c:v>44494</c:v>
                </c:pt>
                <c:pt idx="211">
                  <c:v>44495</c:v>
                </c:pt>
                <c:pt idx="212">
                  <c:v>44496</c:v>
                </c:pt>
                <c:pt idx="213">
                  <c:v>44497</c:v>
                </c:pt>
                <c:pt idx="214">
                  <c:v>44498</c:v>
                </c:pt>
                <c:pt idx="215">
                  <c:v>44501</c:v>
                </c:pt>
                <c:pt idx="216">
                  <c:v>44502</c:v>
                </c:pt>
                <c:pt idx="217">
                  <c:v>44503</c:v>
                </c:pt>
                <c:pt idx="218">
                  <c:v>44504</c:v>
                </c:pt>
                <c:pt idx="219">
                  <c:v>44505</c:v>
                </c:pt>
                <c:pt idx="220">
                  <c:v>44508</c:v>
                </c:pt>
                <c:pt idx="221">
                  <c:v>44509</c:v>
                </c:pt>
                <c:pt idx="222">
                  <c:v>44510</c:v>
                </c:pt>
                <c:pt idx="223">
                  <c:v>44511</c:v>
                </c:pt>
                <c:pt idx="224">
                  <c:v>44512</c:v>
                </c:pt>
                <c:pt idx="225">
                  <c:v>44515</c:v>
                </c:pt>
                <c:pt idx="226">
                  <c:v>44516</c:v>
                </c:pt>
                <c:pt idx="227">
                  <c:v>44517</c:v>
                </c:pt>
                <c:pt idx="228">
                  <c:v>44518</c:v>
                </c:pt>
                <c:pt idx="229">
                  <c:v>44519</c:v>
                </c:pt>
                <c:pt idx="230">
                  <c:v>44522</c:v>
                </c:pt>
                <c:pt idx="231">
                  <c:v>44523</c:v>
                </c:pt>
                <c:pt idx="232">
                  <c:v>44524</c:v>
                </c:pt>
                <c:pt idx="233">
                  <c:v>44525</c:v>
                </c:pt>
                <c:pt idx="234">
                  <c:v>44526</c:v>
                </c:pt>
                <c:pt idx="235">
                  <c:v>44529</c:v>
                </c:pt>
                <c:pt idx="236">
                  <c:v>44530</c:v>
                </c:pt>
                <c:pt idx="237">
                  <c:v>44531</c:v>
                </c:pt>
                <c:pt idx="238">
                  <c:v>44532</c:v>
                </c:pt>
                <c:pt idx="239">
                  <c:v>44533</c:v>
                </c:pt>
                <c:pt idx="240">
                  <c:v>44536</c:v>
                </c:pt>
                <c:pt idx="241">
                  <c:v>44537</c:v>
                </c:pt>
                <c:pt idx="242">
                  <c:v>44538</c:v>
                </c:pt>
                <c:pt idx="243">
                  <c:v>44539</c:v>
                </c:pt>
                <c:pt idx="244">
                  <c:v>44540</c:v>
                </c:pt>
                <c:pt idx="245">
                  <c:v>44543</c:v>
                </c:pt>
                <c:pt idx="246">
                  <c:v>44544</c:v>
                </c:pt>
                <c:pt idx="247">
                  <c:v>44545</c:v>
                </c:pt>
                <c:pt idx="248">
                  <c:v>44546</c:v>
                </c:pt>
                <c:pt idx="249">
                  <c:v>44547</c:v>
                </c:pt>
                <c:pt idx="250">
                  <c:v>44550</c:v>
                </c:pt>
                <c:pt idx="251">
                  <c:v>44551</c:v>
                </c:pt>
                <c:pt idx="252">
                  <c:v>44552</c:v>
                </c:pt>
                <c:pt idx="253">
                  <c:v>44553</c:v>
                </c:pt>
                <c:pt idx="254">
                  <c:v>44554</c:v>
                </c:pt>
                <c:pt idx="255">
                  <c:v>44557</c:v>
                </c:pt>
                <c:pt idx="256">
                  <c:v>44558</c:v>
                </c:pt>
                <c:pt idx="257">
                  <c:v>44559</c:v>
                </c:pt>
                <c:pt idx="258">
                  <c:v>44560</c:v>
                </c:pt>
                <c:pt idx="259">
                  <c:v>44561</c:v>
                </c:pt>
                <c:pt idx="260">
                  <c:v>44564</c:v>
                </c:pt>
                <c:pt idx="261">
                  <c:v>44565</c:v>
                </c:pt>
                <c:pt idx="262">
                  <c:v>44566</c:v>
                </c:pt>
                <c:pt idx="263">
                  <c:v>44567</c:v>
                </c:pt>
                <c:pt idx="264">
                  <c:v>44568</c:v>
                </c:pt>
                <c:pt idx="265">
                  <c:v>44571</c:v>
                </c:pt>
                <c:pt idx="266">
                  <c:v>44572</c:v>
                </c:pt>
                <c:pt idx="267">
                  <c:v>44573</c:v>
                </c:pt>
                <c:pt idx="268">
                  <c:v>44574</c:v>
                </c:pt>
                <c:pt idx="269">
                  <c:v>44575</c:v>
                </c:pt>
                <c:pt idx="270">
                  <c:v>44578</c:v>
                </c:pt>
                <c:pt idx="271">
                  <c:v>44579</c:v>
                </c:pt>
                <c:pt idx="272">
                  <c:v>44580</c:v>
                </c:pt>
                <c:pt idx="273">
                  <c:v>44581</c:v>
                </c:pt>
                <c:pt idx="274">
                  <c:v>44582</c:v>
                </c:pt>
                <c:pt idx="275">
                  <c:v>44585</c:v>
                </c:pt>
                <c:pt idx="276">
                  <c:v>44586</c:v>
                </c:pt>
                <c:pt idx="277">
                  <c:v>44587</c:v>
                </c:pt>
                <c:pt idx="278">
                  <c:v>44588</c:v>
                </c:pt>
                <c:pt idx="279">
                  <c:v>44589</c:v>
                </c:pt>
                <c:pt idx="280">
                  <c:v>44592</c:v>
                </c:pt>
                <c:pt idx="281">
                  <c:v>44593</c:v>
                </c:pt>
                <c:pt idx="282">
                  <c:v>44594</c:v>
                </c:pt>
                <c:pt idx="283">
                  <c:v>44595</c:v>
                </c:pt>
                <c:pt idx="284">
                  <c:v>44596</c:v>
                </c:pt>
                <c:pt idx="285">
                  <c:v>44599</c:v>
                </c:pt>
                <c:pt idx="286">
                  <c:v>44600</c:v>
                </c:pt>
                <c:pt idx="287">
                  <c:v>44601</c:v>
                </c:pt>
                <c:pt idx="288">
                  <c:v>44602</c:v>
                </c:pt>
                <c:pt idx="289">
                  <c:v>44603</c:v>
                </c:pt>
                <c:pt idx="290">
                  <c:v>44606</c:v>
                </c:pt>
                <c:pt idx="291">
                  <c:v>44607</c:v>
                </c:pt>
                <c:pt idx="292">
                  <c:v>44608</c:v>
                </c:pt>
                <c:pt idx="293">
                  <c:v>44609</c:v>
                </c:pt>
                <c:pt idx="294">
                  <c:v>44610</c:v>
                </c:pt>
                <c:pt idx="295">
                  <c:v>44613</c:v>
                </c:pt>
                <c:pt idx="296">
                  <c:v>44614</c:v>
                </c:pt>
                <c:pt idx="297">
                  <c:v>44615</c:v>
                </c:pt>
                <c:pt idx="298">
                  <c:v>44616</c:v>
                </c:pt>
                <c:pt idx="299">
                  <c:v>44617</c:v>
                </c:pt>
                <c:pt idx="300">
                  <c:v>44620</c:v>
                </c:pt>
                <c:pt idx="301">
                  <c:v>44621</c:v>
                </c:pt>
                <c:pt idx="302">
                  <c:v>44622</c:v>
                </c:pt>
                <c:pt idx="303">
                  <c:v>44623</c:v>
                </c:pt>
                <c:pt idx="304">
                  <c:v>44624</c:v>
                </c:pt>
                <c:pt idx="305">
                  <c:v>44627</c:v>
                </c:pt>
                <c:pt idx="306">
                  <c:v>44628</c:v>
                </c:pt>
                <c:pt idx="307">
                  <c:v>44629</c:v>
                </c:pt>
                <c:pt idx="308">
                  <c:v>44630</c:v>
                </c:pt>
                <c:pt idx="309">
                  <c:v>44631</c:v>
                </c:pt>
                <c:pt idx="310">
                  <c:v>44634</c:v>
                </c:pt>
                <c:pt idx="311">
                  <c:v>44635</c:v>
                </c:pt>
                <c:pt idx="312">
                  <c:v>44636</c:v>
                </c:pt>
                <c:pt idx="313">
                  <c:v>44637</c:v>
                </c:pt>
                <c:pt idx="314">
                  <c:v>44638</c:v>
                </c:pt>
                <c:pt idx="315">
                  <c:v>44641</c:v>
                </c:pt>
                <c:pt idx="316">
                  <c:v>44642</c:v>
                </c:pt>
                <c:pt idx="317">
                  <c:v>44643</c:v>
                </c:pt>
                <c:pt idx="318">
                  <c:v>44644</c:v>
                </c:pt>
                <c:pt idx="319">
                  <c:v>44645</c:v>
                </c:pt>
                <c:pt idx="320">
                  <c:v>44648</c:v>
                </c:pt>
                <c:pt idx="321">
                  <c:v>44649</c:v>
                </c:pt>
                <c:pt idx="322">
                  <c:v>44650</c:v>
                </c:pt>
                <c:pt idx="323">
                  <c:v>44651</c:v>
                </c:pt>
                <c:pt idx="324">
                  <c:v>44652</c:v>
                </c:pt>
                <c:pt idx="325">
                  <c:v>44655</c:v>
                </c:pt>
                <c:pt idx="326">
                  <c:v>44656</c:v>
                </c:pt>
                <c:pt idx="327">
                  <c:v>44657</c:v>
                </c:pt>
                <c:pt idx="328">
                  <c:v>44658</c:v>
                </c:pt>
                <c:pt idx="329">
                  <c:v>44659</c:v>
                </c:pt>
                <c:pt idx="330">
                  <c:v>44662</c:v>
                </c:pt>
                <c:pt idx="331">
                  <c:v>44663</c:v>
                </c:pt>
                <c:pt idx="332">
                  <c:v>44664</c:v>
                </c:pt>
                <c:pt idx="333">
                  <c:v>44665</c:v>
                </c:pt>
                <c:pt idx="334">
                  <c:v>44666</c:v>
                </c:pt>
                <c:pt idx="335">
                  <c:v>44669</c:v>
                </c:pt>
                <c:pt idx="336">
                  <c:v>44670</c:v>
                </c:pt>
                <c:pt idx="337">
                  <c:v>44671</c:v>
                </c:pt>
                <c:pt idx="338">
                  <c:v>44672</c:v>
                </c:pt>
                <c:pt idx="339">
                  <c:v>44673</c:v>
                </c:pt>
                <c:pt idx="340">
                  <c:v>44676</c:v>
                </c:pt>
                <c:pt idx="341">
                  <c:v>44677</c:v>
                </c:pt>
                <c:pt idx="342">
                  <c:v>44678</c:v>
                </c:pt>
                <c:pt idx="343">
                  <c:v>44679</c:v>
                </c:pt>
                <c:pt idx="344">
                  <c:v>44680</c:v>
                </c:pt>
                <c:pt idx="345">
                  <c:v>44683</c:v>
                </c:pt>
                <c:pt idx="346">
                  <c:v>44684</c:v>
                </c:pt>
                <c:pt idx="347">
                  <c:v>44685</c:v>
                </c:pt>
                <c:pt idx="348">
                  <c:v>44686</c:v>
                </c:pt>
                <c:pt idx="349">
                  <c:v>44687</c:v>
                </c:pt>
                <c:pt idx="350">
                  <c:v>44690</c:v>
                </c:pt>
                <c:pt idx="351">
                  <c:v>44691</c:v>
                </c:pt>
                <c:pt idx="352">
                  <c:v>44692</c:v>
                </c:pt>
                <c:pt idx="353">
                  <c:v>44693</c:v>
                </c:pt>
                <c:pt idx="354">
                  <c:v>44694</c:v>
                </c:pt>
                <c:pt idx="355">
                  <c:v>44697</c:v>
                </c:pt>
                <c:pt idx="356">
                  <c:v>44698</c:v>
                </c:pt>
                <c:pt idx="357">
                  <c:v>44699</c:v>
                </c:pt>
                <c:pt idx="358">
                  <c:v>44700</c:v>
                </c:pt>
                <c:pt idx="359">
                  <c:v>44701</c:v>
                </c:pt>
                <c:pt idx="360">
                  <c:v>44704</c:v>
                </c:pt>
                <c:pt idx="361">
                  <c:v>44705</c:v>
                </c:pt>
                <c:pt idx="362">
                  <c:v>44706</c:v>
                </c:pt>
                <c:pt idx="363">
                  <c:v>44707</c:v>
                </c:pt>
                <c:pt idx="364">
                  <c:v>44708</c:v>
                </c:pt>
                <c:pt idx="365">
                  <c:v>44711</c:v>
                </c:pt>
                <c:pt idx="366">
                  <c:v>44712</c:v>
                </c:pt>
                <c:pt idx="367">
                  <c:v>44713</c:v>
                </c:pt>
                <c:pt idx="368">
                  <c:v>44714</c:v>
                </c:pt>
                <c:pt idx="369">
                  <c:v>44715</c:v>
                </c:pt>
                <c:pt idx="370">
                  <c:v>44718</c:v>
                </c:pt>
                <c:pt idx="371">
                  <c:v>44719</c:v>
                </c:pt>
                <c:pt idx="372">
                  <c:v>44720</c:v>
                </c:pt>
                <c:pt idx="373">
                  <c:v>44721</c:v>
                </c:pt>
                <c:pt idx="374">
                  <c:v>44722</c:v>
                </c:pt>
                <c:pt idx="375">
                  <c:v>44725</c:v>
                </c:pt>
                <c:pt idx="376">
                  <c:v>44726</c:v>
                </c:pt>
                <c:pt idx="377">
                  <c:v>44727</c:v>
                </c:pt>
                <c:pt idx="378">
                  <c:v>44728</c:v>
                </c:pt>
                <c:pt idx="379">
                  <c:v>44729</c:v>
                </c:pt>
                <c:pt idx="380">
                  <c:v>44732</c:v>
                </c:pt>
                <c:pt idx="381">
                  <c:v>44733</c:v>
                </c:pt>
                <c:pt idx="382">
                  <c:v>44734</c:v>
                </c:pt>
                <c:pt idx="383">
                  <c:v>44735</c:v>
                </c:pt>
                <c:pt idx="384">
                  <c:v>44736</c:v>
                </c:pt>
                <c:pt idx="385">
                  <c:v>44739</c:v>
                </c:pt>
                <c:pt idx="386">
                  <c:v>44740</c:v>
                </c:pt>
                <c:pt idx="387">
                  <c:v>44741</c:v>
                </c:pt>
                <c:pt idx="388">
                  <c:v>44742</c:v>
                </c:pt>
                <c:pt idx="389">
                  <c:v>44743</c:v>
                </c:pt>
                <c:pt idx="390">
                  <c:v>44746</c:v>
                </c:pt>
                <c:pt idx="391">
                  <c:v>44747</c:v>
                </c:pt>
                <c:pt idx="392">
                  <c:v>44748</c:v>
                </c:pt>
                <c:pt idx="393">
                  <c:v>44749</c:v>
                </c:pt>
                <c:pt idx="394">
                  <c:v>44750</c:v>
                </c:pt>
                <c:pt idx="395">
                  <c:v>44753</c:v>
                </c:pt>
                <c:pt idx="396">
                  <c:v>44754</c:v>
                </c:pt>
                <c:pt idx="397">
                  <c:v>44755</c:v>
                </c:pt>
                <c:pt idx="398">
                  <c:v>44756</c:v>
                </c:pt>
                <c:pt idx="399">
                  <c:v>44757</c:v>
                </c:pt>
                <c:pt idx="400">
                  <c:v>44760</c:v>
                </c:pt>
                <c:pt idx="401">
                  <c:v>44761</c:v>
                </c:pt>
                <c:pt idx="402">
                  <c:v>44762</c:v>
                </c:pt>
                <c:pt idx="403">
                  <c:v>44763</c:v>
                </c:pt>
                <c:pt idx="404">
                  <c:v>44764</c:v>
                </c:pt>
                <c:pt idx="405">
                  <c:v>44767</c:v>
                </c:pt>
                <c:pt idx="406">
                  <c:v>44768</c:v>
                </c:pt>
                <c:pt idx="407">
                  <c:v>44769</c:v>
                </c:pt>
                <c:pt idx="408">
                  <c:v>44770</c:v>
                </c:pt>
                <c:pt idx="409">
                  <c:v>44771</c:v>
                </c:pt>
                <c:pt idx="410">
                  <c:v>44774</c:v>
                </c:pt>
                <c:pt idx="411">
                  <c:v>44775</c:v>
                </c:pt>
                <c:pt idx="412">
                  <c:v>44776</c:v>
                </c:pt>
                <c:pt idx="413">
                  <c:v>44777</c:v>
                </c:pt>
                <c:pt idx="414">
                  <c:v>44778</c:v>
                </c:pt>
                <c:pt idx="415">
                  <c:v>44781</c:v>
                </c:pt>
                <c:pt idx="416">
                  <c:v>44782</c:v>
                </c:pt>
                <c:pt idx="417">
                  <c:v>44783</c:v>
                </c:pt>
                <c:pt idx="418">
                  <c:v>44784</c:v>
                </c:pt>
                <c:pt idx="419">
                  <c:v>44785</c:v>
                </c:pt>
                <c:pt idx="420">
                  <c:v>44788</c:v>
                </c:pt>
                <c:pt idx="421">
                  <c:v>44789</c:v>
                </c:pt>
                <c:pt idx="422">
                  <c:v>44790</c:v>
                </c:pt>
                <c:pt idx="423">
                  <c:v>44791</c:v>
                </c:pt>
                <c:pt idx="424">
                  <c:v>44792</c:v>
                </c:pt>
                <c:pt idx="425">
                  <c:v>44795</c:v>
                </c:pt>
                <c:pt idx="426">
                  <c:v>44796</c:v>
                </c:pt>
                <c:pt idx="427">
                  <c:v>44797</c:v>
                </c:pt>
                <c:pt idx="428">
                  <c:v>44798</c:v>
                </c:pt>
                <c:pt idx="429">
                  <c:v>44799</c:v>
                </c:pt>
                <c:pt idx="430">
                  <c:v>44802</c:v>
                </c:pt>
                <c:pt idx="431">
                  <c:v>44803</c:v>
                </c:pt>
                <c:pt idx="432">
                  <c:v>44804</c:v>
                </c:pt>
                <c:pt idx="433">
                  <c:v>44805</c:v>
                </c:pt>
                <c:pt idx="434">
                  <c:v>44806</c:v>
                </c:pt>
                <c:pt idx="435">
                  <c:v>44809</c:v>
                </c:pt>
                <c:pt idx="436">
                  <c:v>44810</c:v>
                </c:pt>
                <c:pt idx="437">
                  <c:v>44811</c:v>
                </c:pt>
                <c:pt idx="438">
                  <c:v>44812</c:v>
                </c:pt>
                <c:pt idx="439">
                  <c:v>44813</c:v>
                </c:pt>
                <c:pt idx="440">
                  <c:v>44816</c:v>
                </c:pt>
                <c:pt idx="441">
                  <c:v>44817</c:v>
                </c:pt>
                <c:pt idx="442">
                  <c:v>44818</c:v>
                </c:pt>
                <c:pt idx="443">
                  <c:v>44819</c:v>
                </c:pt>
                <c:pt idx="444">
                  <c:v>44820</c:v>
                </c:pt>
                <c:pt idx="445">
                  <c:v>44823</c:v>
                </c:pt>
                <c:pt idx="446">
                  <c:v>44824</c:v>
                </c:pt>
                <c:pt idx="447">
                  <c:v>44825</c:v>
                </c:pt>
                <c:pt idx="448">
                  <c:v>44826</c:v>
                </c:pt>
                <c:pt idx="449">
                  <c:v>44827</c:v>
                </c:pt>
                <c:pt idx="450">
                  <c:v>44830</c:v>
                </c:pt>
                <c:pt idx="451">
                  <c:v>44831</c:v>
                </c:pt>
                <c:pt idx="452">
                  <c:v>44832</c:v>
                </c:pt>
                <c:pt idx="453">
                  <c:v>44833</c:v>
                </c:pt>
                <c:pt idx="454">
                  <c:v>44834</c:v>
                </c:pt>
                <c:pt idx="455">
                  <c:v>44837</c:v>
                </c:pt>
                <c:pt idx="456">
                  <c:v>44838</c:v>
                </c:pt>
                <c:pt idx="457">
                  <c:v>44839</c:v>
                </c:pt>
                <c:pt idx="458">
                  <c:v>44840</c:v>
                </c:pt>
                <c:pt idx="459">
                  <c:v>44841</c:v>
                </c:pt>
                <c:pt idx="460">
                  <c:v>44844</c:v>
                </c:pt>
                <c:pt idx="461">
                  <c:v>44845</c:v>
                </c:pt>
                <c:pt idx="462">
                  <c:v>44846</c:v>
                </c:pt>
                <c:pt idx="463">
                  <c:v>44847</c:v>
                </c:pt>
                <c:pt idx="464">
                  <c:v>44848</c:v>
                </c:pt>
                <c:pt idx="465">
                  <c:v>44851</c:v>
                </c:pt>
                <c:pt idx="466">
                  <c:v>44852</c:v>
                </c:pt>
                <c:pt idx="467">
                  <c:v>44853</c:v>
                </c:pt>
                <c:pt idx="468">
                  <c:v>44854</c:v>
                </c:pt>
                <c:pt idx="469">
                  <c:v>44855</c:v>
                </c:pt>
                <c:pt idx="470">
                  <c:v>44858</c:v>
                </c:pt>
                <c:pt idx="471">
                  <c:v>44859</c:v>
                </c:pt>
                <c:pt idx="472">
                  <c:v>44860</c:v>
                </c:pt>
                <c:pt idx="473">
                  <c:v>44861</c:v>
                </c:pt>
                <c:pt idx="474">
                  <c:v>44862</c:v>
                </c:pt>
                <c:pt idx="475">
                  <c:v>44865</c:v>
                </c:pt>
                <c:pt idx="476">
                  <c:v>44866</c:v>
                </c:pt>
                <c:pt idx="477">
                  <c:v>44867</c:v>
                </c:pt>
                <c:pt idx="478">
                  <c:v>44868</c:v>
                </c:pt>
                <c:pt idx="479">
                  <c:v>44869</c:v>
                </c:pt>
                <c:pt idx="480">
                  <c:v>44872</c:v>
                </c:pt>
                <c:pt idx="481">
                  <c:v>44873</c:v>
                </c:pt>
                <c:pt idx="482">
                  <c:v>44874</c:v>
                </c:pt>
                <c:pt idx="483">
                  <c:v>44875</c:v>
                </c:pt>
                <c:pt idx="484">
                  <c:v>44876</c:v>
                </c:pt>
                <c:pt idx="485">
                  <c:v>44879</c:v>
                </c:pt>
                <c:pt idx="486">
                  <c:v>44880</c:v>
                </c:pt>
                <c:pt idx="487">
                  <c:v>44881</c:v>
                </c:pt>
                <c:pt idx="488">
                  <c:v>44882</c:v>
                </c:pt>
                <c:pt idx="489">
                  <c:v>44883</c:v>
                </c:pt>
                <c:pt idx="490">
                  <c:v>44886</c:v>
                </c:pt>
                <c:pt idx="491">
                  <c:v>44887</c:v>
                </c:pt>
                <c:pt idx="492">
                  <c:v>44888</c:v>
                </c:pt>
                <c:pt idx="493">
                  <c:v>44889</c:v>
                </c:pt>
                <c:pt idx="494">
                  <c:v>44890</c:v>
                </c:pt>
                <c:pt idx="495">
                  <c:v>44893</c:v>
                </c:pt>
                <c:pt idx="496">
                  <c:v>44894</c:v>
                </c:pt>
                <c:pt idx="497">
                  <c:v>44895</c:v>
                </c:pt>
                <c:pt idx="498">
                  <c:v>44896</c:v>
                </c:pt>
                <c:pt idx="499">
                  <c:v>44897</c:v>
                </c:pt>
                <c:pt idx="500">
                  <c:v>44900</c:v>
                </c:pt>
                <c:pt idx="501">
                  <c:v>44901</c:v>
                </c:pt>
                <c:pt idx="502">
                  <c:v>44902</c:v>
                </c:pt>
                <c:pt idx="503">
                  <c:v>44903</c:v>
                </c:pt>
                <c:pt idx="504">
                  <c:v>44904</c:v>
                </c:pt>
                <c:pt idx="505">
                  <c:v>44907</c:v>
                </c:pt>
                <c:pt idx="506">
                  <c:v>44908</c:v>
                </c:pt>
                <c:pt idx="507">
                  <c:v>44909</c:v>
                </c:pt>
                <c:pt idx="508">
                  <c:v>44910</c:v>
                </c:pt>
                <c:pt idx="509">
                  <c:v>44911</c:v>
                </c:pt>
                <c:pt idx="510">
                  <c:v>44914</c:v>
                </c:pt>
                <c:pt idx="511">
                  <c:v>44915</c:v>
                </c:pt>
                <c:pt idx="512">
                  <c:v>44916</c:v>
                </c:pt>
                <c:pt idx="513">
                  <c:v>44917</c:v>
                </c:pt>
                <c:pt idx="514">
                  <c:v>44918</c:v>
                </c:pt>
                <c:pt idx="515">
                  <c:v>44921</c:v>
                </c:pt>
                <c:pt idx="516">
                  <c:v>44922</c:v>
                </c:pt>
                <c:pt idx="517">
                  <c:v>44923</c:v>
                </c:pt>
                <c:pt idx="518">
                  <c:v>44924</c:v>
                </c:pt>
                <c:pt idx="519">
                  <c:v>44925</c:v>
                </c:pt>
                <c:pt idx="520">
                  <c:v>44928</c:v>
                </c:pt>
                <c:pt idx="521">
                  <c:v>44929</c:v>
                </c:pt>
                <c:pt idx="522">
                  <c:v>44930</c:v>
                </c:pt>
                <c:pt idx="523">
                  <c:v>44931</c:v>
                </c:pt>
                <c:pt idx="524">
                  <c:v>44932</c:v>
                </c:pt>
                <c:pt idx="525">
                  <c:v>44935</c:v>
                </c:pt>
                <c:pt idx="526">
                  <c:v>44936</c:v>
                </c:pt>
              </c:numCache>
            </c:numRef>
          </c:cat>
          <c:val>
            <c:numRef>
              <c:f>'10y RAGB time series'!$E$790:$E$1317</c:f>
              <c:numCache>
                <c:formatCode>General</c:formatCode>
                <c:ptCount val="528"/>
                <c:pt idx="0">
                  <c:v>-0.57199999999999995</c:v>
                </c:pt>
                <c:pt idx="1">
                  <c:v>-0.60599999999999998</c:v>
                </c:pt>
                <c:pt idx="2">
                  <c:v>-0.57899999999999996</c:v>
                </c:pt>
                <c:pt idx="3">
                  <c:v>-0.52300000000000002</c:v>
                </c:pt>
                <c:pt idx="4">
                  <c:v>-0.52500000000000002</c:v>
                </c:pt>
                <c:pt idx="5">
                  <c:v>-0.52200000000000002</c:v>
                </c:pt>
                <c:pt idx="6">
                  <c:v>-0.498</c:v>
                </c:pt>
                <c:pt idx="7">
                  <c:v>-0.46899999999999997</c:v>
                </c:pt>
                <c:pt idx="8">
                  <c:v>-0.52300000000000002</c:v>
                </c:pt>
                <c:pt idx="9">
                  <c:v>-0.55000000000000004</c:v>
                </c:pt>
                <c:pt idx="10">
                  <c:v>-0.54400000000000004</c:v>
                </c:pt>
                <c:pt idx="11">
                  <c:v>-0.52800000000000002</c:v>
                </c:pt>
                <c:pt idx="12">
                  <c:v>-0.52700000000000002</c:v>
                </c:pt>
                <c:pt idx="13">
                  <c:v>-0.53</c:v>
                </c:pt>
                <c:pt idx="14">
                  <c:v>-0.497</c:v>
                </c:pt>
                <c:pt idx="15">
                  <c:v>-0.51400000000000001</c:v>
                </c:pt>
                <c:pt idx="16">
                  <c:v>-0.55100000000000005</c:v>
                </c:pt>
                <c:pt idx="17">
                  <c:v>-0.53500000000000003</c:v>
                </c:pt>
                <c:pt idx="18">
                  <c:v>-0.54700000000000004</c:v>
                </c:pt>
                <c:pt idx="19">
                  <c:v>-0.54</c:v>
                </c:pt>
                <c:pt idx="20">
                  <c:v>-0.51900000000000002</c:v>
                </c:pt>
                <c:pt idx="21">
                  <c:v>-0.51700000000000002</c:v>
                </c:pt>
                <c:pt idx="22">
                  <c:v>-0.49</c:v>
                </c:pt>
                <c:pt idx="23">
                  <c:v>-0.46600000000000003</c:v>
                </c:pt>
                <c:pt idx="24">
                  <c:v>-0.45500000000000002</c:v>
                </c:pt>
                <c:pt idx="25">
                  <c:v>-0.44800000000000001</c:v>
                </c:pt>
                <c:pt idx="26">
                  <c:v>-0.44700000000000001</c:v>
                </c:pt>
                <c:pt idx="27">
                  <c:v>-0.44700000000000001</c:v>
                </c:pt>
                <c:pt idx="28">
                  <c:v>-0.438</c:v>
                </c:pt>
                <c:pt idx="29">
                  <c:v>-0.45900000000000002</c:v>
                </c:pt>
                <c:pt idx="30">
                  <c:v>-0.42899999999999999</c:v>
                </c:pt>
                <c:pt idx="31">
                  <c:v>-0.38300000000000001</c:v>
                </c:pt>
                <c:pt idx="32">
                  <c:v>-0.34899999999999998</c:v>
                </c:pt>
                <c:pt idx="33">
                  <c:v>-0.36899999999999999</c:v>
                </c:pt>
                <c:pt idx="34">
                  <c:v>-0.34699999999999998</c:v>
                </c:pt>
                <c:pt idx="35">
                  <c:v>-0.307</c:v>
                </c:pt>
                <c:pt idx="36">
                  <c:v>-0.34</c:v>
                </c:pt>
                <c:pt idx="37">
                  <c:v>-0.317</c:v>
                </c:pt>
                <c:pt idx="38">
                  <c:v>-0.30499999999999999</c:v>
                </c:pt>
                <c:pt idx="39">
                  <c:v>-0.23300000000000001</c:v>
                </c:pt>
                <c:pt idx="40">
                  <c:v>-0.26200000000000001</c:v>
                </c:pt>
                <c:pt idx="41">
                  <c:v>-0.33600000000000002</c:v>
                </c:pt>
                <c:pt idx="42">
                  <c:v>-0.35299999999999998</c:v>
                </c:pt>
                <c:pt idx="43">
                  <c:v>-0.28899999999999998</c:v>
                </c:pt>
                <c:pt idx="44">
                  <c:v>-0.313</c:v>
                </c:pt>
                <c:pt idx="45">
                  <c:v>-0.30299999999999999</c:v>
                </c:pt>
                <c:pt idx="46">
                  <c:v>-0.27800000000000002</c:v>
                </c:pt>
                <c:pt idx="47">
                  <c:v>-0.30099999999999999</c:v>
                </c:pt>
                <c:pt idx="48">
                  <c:v>-0.315</c:v>
                </c:pt>
                <c:pt idx="49">
                  <c:v>-0.33500000000000002</c:v>
                </c:pt>
                <c:pt idx="50">
                  <c:v>-0.307</c:v>
                </c:pt>
                <c:pt idx="51">
                  <c:v>-0.33500000000000002</c:v>
                </c:pt>
                <c:pt idx="52">
                  <c:v>-0.33700000000000002</c:v>
                </c:pt>
                <c:pt idx="53">
                  <c:v>-0.29199999999999998</c:v>
                </c:pt>
                <c:pt idx="54">
                  <c:v>-0.26500000000000001</c:v>
                </c:pt>
                <c:pt idx="55">
                  <c:v>-0.29499999999999998</c:v>
                </c:pt>
                <c:pt idx="56">
                  <c:v>-0.312</c:v>
                </c:pt>
                <c:pt idx="57">
                  <c:v>-0.34300000000000003</c:v>
                </c:pt>
                <c:pt idx="58">
                  <c:v>-0.35399999999999998</c:v>
                </c:pt>
                <c:pt idx="59">
                  <c:v>-0.38500000000000001</c:v>
                </c:pt>
                <c:pt idx="60">
                  <c:v>-0.34799999999999998</c:v>
                </c:pt>
                <c:pt idx="61">
                  <c:v>-0.32</c:v>
                </c:pt>
                <c:pt idx="62">
                  <c:v>-0.28799999999999998</c:v>
                </c:pt>
                <c:pt idx="63">
                  <c:v>-0.29299999999999998</c:v>
                </c:pt>
                <c:pt idx="64">
                  <c:v>-0.32900000000000001</c:v>
                </c:pt>
                <c:pt idx="65">
                  <c:v>-0.32900000000000001</c:v>
                </c:pt>
                <c:pt idx="66">
                  <c:v>-0.32900000000000001</c:v>
                </c:pt>
                <c:pt idx="67">
                  <c:v>-0.317</c:v>
                </c:pt>
                <c:pt idx="68">
                  <c:v>-0.32500000000000001</c:v>
                </c:pt>
                <c:pt idx="69">
                  <c:v>-0.33600000000000002</c:v>
                </c:pt>
                <c:pt idx="70">
                  <c:v>-0.30399999999999999</c:v>
                </c:pt>
                <c:pt idx="71">
                  <c:v>-0.29499999999999998</c:v>
                </c:pt>
                <c:pt idx="72">
                  <c:v>-0.29299999999999998</c:v>
                </c:pt>
                <c:pt idx="73">
                  <c:v>-0.25900000000000001</c:v>
                </c:pt>
                <c:pt idx="74">
                  <c:v>-0.29199999999999998</c:v>
                </c:pt>
                <c:pt idx="75">
                  <c:v>-0.26400000000000001</c:v>
                </c:pt>
                <c:pt idx="76">
                  <c:v>-0.23499999999999999</c:v>
                </c:pt>
                <c:pt idx="77">
                  <c:v>-0.26300000000000001</c:v>
                </c:pt>
                <c:pt idx="78">
                  <c:v>-0.26300000000000001</c:v>
                </c:pt>
                <c:pt idx="79">
                  <c:v>-0.253</c:v>
                </c:pt>
                <c:pt idx="80">
                  <c:v>-0.25900000000000001</c:v>
                </c:pt>
                <c:pt idx="81">
                  <c:v>-0.254</c:v>
                </c:pt>
                <c:pt idx="82">
                  <c:v>-0.25</c:v>
                </c:pt>
                <c:pt idx="83">
                  <c:v>-0.23200000000000001</c:v>
                </c:pt>
                <c:pt idx="84">
                  <c:v>-0.19400000000000001</c:v>
                </c:pt>
                <c:pt idx="85">
                  <c:v>-0.20300000000000001</c:v>
                </c:pt>
                <c:pt idx="86">
                  <c:v>-0.20499999999999999</c:v>
                </c:pt>
                <c:pt idx="87">
                  <c:v>-0.23899999999999999</c:v>
                </c:pt>
                <c:pt idx="88">
                  <c:v>-0.22800000000000001</c:v>
                </c:pt>
                <c:pt idx="89">
                  <c:v>-0.22600000000000001</c:v>
                </c:pt>
                <c:pt idx="90">
                  <c:v>-0.216</c:v>
                </c:pt>
                <c:pt idx="91">
                  <c:v>-0.21299999999999999</c:v>
                </c:pt>
                <c:pt idx="92">
                  <c:v>-0.16200000000000001</c:v>
                </c:pt>
                <c:pt idx="93">
                  <c:v>-0.125</c:v>
                </c:pt>
                <c:pt idx="94">
                  <c:v>-0.121</c:v>
                </c:pt>
                <c:pt idx="95">
                  <c:v>-0.13100000000000001</c:v>
                </c:pt>
                <c:pt idx="96">
                  <c:v>-0.11600000000000001</c:v>
                </c:pt>
                <c:pt idx="97">
                  <c:v>-0.104</c:v>
                </c:pt>
                <c:pt idx="98">
                  <c:v>-0.111</c:v>
                </c:pt>
                <c:pt idx="99">
                  <c:v>-0.11</c:v>
                </c:pt>
                <c:pt idx="100">
                  <c:v>-0.13100000000000001</c:v>
                </c:pt>
                <c:pt idx="101">
                  <c:v>-0.14099999999999999</c:v>
                </c:pt>
                <c:pt idx="102">
                  <c:v>-0.16800000000000001</c:v>
                </c:pt>
                <c:pt idx="103">
                  <c:v>-0.20699999999999999</c:v>
                </c:pt>
                <c:pt idx="104">
                  <c:v>-0.17299999999999999</c:v>
                </c:pt>
                <c:pt idx="105">
                  <c:v>-0.183</c:v>
                </c:pt>
                <c:pt idx="106">
                  <c:v>-0.188</c:v>
                </c:pt>
                <c:pt idx="107">
                  <c:v>-0.17899999999999999</c:v>
                </c:pt>
                <c:pt idx="108">
                  <c:v>-0.19900000000000001</c:v>
                </c:pt>
                <c:pt idx="109">
                  <c:v>-0.184</c:v>
                </c:pt>
                <c:pt idx="110">
                  <c:v>-0.214</c:v>
                </c:pt>
                <c:pt idx="111">
                  <c:v>-0.19900000000000001</c:v>
                </c:pt>
                <c:pt idx="112">
                  <c:v>-0.22500000000000001</c:v>
                </c:pt>
                <c:pt idx="113">
                  <c:v>-0.245</c:v>
                </c:pt>
                <c:pt idx="114">
                  <c:v>-0.25700000000000001</c:v>
                </c:pt>
                <c:pt idx="115">
                  <c:v>-0.27400000000000002</c:v>
                </c:pt>
                <c:pt idx="116">
                  <c:v>-0.252</c:v>
                </c:pt>
                <c:pt idx="117">
                  <c:v>-0.23200000000000001</c:v>
                </c:pt>
                <c:pt idx="118">
                  <c:v>-0.25</c:v>
                </c:pt>
                <c:pt idx="119">
                  <c:v>-0.19700000000000001</c:v>
                </c:pt>
                <c:pt idx="120">
                  <c:v>-0.20200000000000001</c:v>
                </c:pt>
                <c:pt idx="121">
                  <c:v>-0.17299999999999999</c:v>
                </c:pt>
                <c:pt idx="122">
                  <c:v>-0.16500000000000001</c:v>
                </c:pt>
                <c:pt idx="123">
                  <c:v>-0.17899999999999999</c:v>
                </c:pt>
                <c:pt idx="124">
                  <c:v>-0.19</c:v>
                </c:pt>
                <c:pt idx="125">
                  <c:v>-0.156</c:v>
                </c:pt>
                <c:pt idx="126">
                  <c:v>-0.191</c:v>
                </c:pt>
                <c:pt idx="127">
                  <c:v>-0.17100000000000001</c:v>
                </c:pt>
                <c:pt idx="128">
                  <c:v>-0.20899999999999999</c:v>
                </c:pt>
                <c:pt idx="129">
                  <c:v>-0.20200000000000001</c:v>
                </c:pt>
                <c:pt idx="130">
                  <c:v>-0.23599999999999999</c:v>
                </c:pt>
                <c:pt idx="131">
                  <c:v>-0.21199999999999999</c:v>
                </c:pt>
                <c:pt idx="132">
                  <c:v>-0.26900000000000002</c:v>
                </c:pt>
                <c:pt idx="133">
                  <c:v>-0.29899999999999999</c:v>
                </c:pt>
                <c:pt idx="134">
                  <c:v>-0.308</c:v>
                </c:pt>
                <c:pt idx="135">
                  <c:v>-0.29399999999999998</c:v>
                </c:pt>
                <c:pt idx="136">
                  <c:v>-0.29599999999999999</c:v>
                </c:pt>
                <c:pt idx="137">
                  <c:v>-0.29499999999999998</c:v>
                </c:pt>
                <c:pt idx="138">
                  <c:v>-0.32</c:v>
                </c:pt>
                <c:pt idx="139">
                  <c:v>-0.33500000000000002</c:v>
                </c:pt>
                <c:pt idx="140">
                  <c:v>-0.35499999999999998</c:v>
                </c:pt>
                <c:pt idx="141">
                  <c:v>-0.38700000000000001</c:v>
                </c:pt>
                <c:pt idx="142">
                  <c:v>-0.41099999999999998</c:v>
                </c:pt>
                <c:pt idx="143">
                  <c:v>-0.39600000000000002</c:v>
                </c:pt>
                <c:pt idx="144">
                  <c:v>-0.42699999999999999</c:v>
                </c:pt>
                <c:pt idx="145">
                  <c:v>-0.42099999999999999</c:v>
                </c:pt>
                <c:pt idx="146">
                  <c:v>-0.41899999999999998</c:v>
                </c:pt>
                <c:pt idx="147">
                  <c:v>-0.442</c:v>
                </c:pt>
                <c:pt idx="148">
                  <c:v>-0.45100000000000001</c:v>
                </c:pt>
                <c:pt idx="149">
                  <c:v>-0.45100000000000001</c:v>
                </c:pt>
                <c:pt idx="150">
                  <c:v>-0.46200000000000002</c:v>
                </c:pt>
                <c:pt idx="151">
                  <c:v>-0.48799999999999999</c:v>
                </c:pt>
                <c:pt idx="152">
                  <c:v>-0.48299999999999998</c:v>
                </c:pt>
                <c:pt idx="153">
                  <c:v>-0.502</c:v>
                </c:pt>
                <c:pt idx="154">
                  <c:v>-0.5</c:v>
                </c:pt>
                <c:pt idx="155">
                  <c:v>-0.45700000000000002</c:v>
                </c:pt>
                <c:pt idx="156">
                  <c:v>-0.46100000000000002</c:v>
                </c:pt>
                <c:pt idx="157">
                  <c:v>-0.45800000000000002</c:v>
                </c:pt>
                <c:pt idx="158">
                  <c:v>-0.46500000000000002</c:v>
                </c:pt>
                <c:pt idx="159">
                  <c:v>-0.46100000000000002</c:v>
                </c:pt>
                <c:pt idx="160">
                  <c:v>-0.46800000000000003</c:v>
                </c:pt>
                <c:pt idx="161">
                  <c:v>-0.47</c:v>
                </c:pt>
                <c:pt idx="162">
                  <c:v>-0.47199999999999998</c:v>
                </c:pt>
                <c:pt idx="163">
                  <c:v>-0.48299999999999998</c:v>
                </c:pt>
                <c:pt idx="164">
                  <c:v>-0.49099999999999999</c:v>
                </c:pt>
                <c:pt idx="165">
                  <c:v>-0.496</c:v>
                </c:pt>
                <c:pt idx="166">
                  <c:v>-0.48199999999999998</c:v>
                </c:pt>
                <c:pt idx="167">
                  <c:v>-0.47899999999999998</c:v>
                </c:pt>
                <c:pt idx="168">
                  <c:v>-0.42299999999999999</c:v>
                </c:pt>
                <c:pt idx="169">
                  <c:v>-0.40799999999999997</c:v>
                </c:pt>
                <c:pt idx="170">
                  <c:v>-0.42499999999999999</c:v>
                </c:pt>
                <c:pt idx="171">
                  <c:v>-0.441</c:v>
                </c:pt>
                <c:pt idx="172">
                  <c:v>-0.38500000000000001</c:v>
                </c:pt>
                <c:pt idx="173">
                  <c:v>-0.375</c:v>
                </c:pt>
                <c:pt idx="174">
                  <c:v>-0.38600000000000001</c:v>
                </c:pt>
                <c:pt idx="175">
                  <c:v>-0.36299999999999999</c:v>
                </c:pt>
                <c:pt idx="176">
                  <c:v>-0.36799999999999999</c:v>
                </c:pt>
                <c:pt idx="177">
                  <c:v>-0.32300000000000001</c:v>
                </c:pt>
                <c:pt idx="178">
                  <c:v>-0.32400000000000001</c:v>
                </c:pt>
                <c:pt idx="179">
                  <c:v>-0.36199999999999999</c:v>
                </c:pt>
                <c:pt idx="180">
                  <c:v>-0.33200000000000002</c:v>
                </c:pt>
                <c:pt idx="181">
                  <c:v>-0.33200000000000002</c:v>
                </c:pt>
                <c:pt idx="182">
                  <c:v>-0.34100000000000003</c:v>
                </c:pt>
                <c:pt idx="183">
                  <c:v>-0.307</c:v>
                </c:pt>
                <c:pt idx="184">
                  <c:v>-0.30299999999999999</c:v>
                </c:pt>
                <c:pt idx="185">
                  <c:v>-0.28100000000000003</c:v>
                </c:pt>
                <c:pt idx="186">
                  <c:v>-0.32100000000000001</c:v>
                </c:pt>
                <c:pt idx="187">
                  <c:v>-0.318</c:v>
                </c:pt>
                <c:pt idx="188">
                  <c:v>-0.32500000000000001</c:v>
                </c:pt>
                <c:pt idx="189">
                  <c:v>-0.25900000000000001</c:v>
                </c:pt>
                <c:pt idx="190">
                  <c:v>-0.22900000000000001</c:v>
                </c:pt>
                <c:pt idx="191">
                  <c:v>-0.224</c:v>
                </c:pt>
                <c:pt idx="192">
                  <c:v>-0.2</c:v>
                </c:pt>
                <c:pt idx="193">
                  <c:v>-0.214</c:v>
                </c:pt>
                <c:pt idx="194">
                  <c:v>-0.2</c:v>
                </c:pt>
                <c:pt idx="195">
                  <c:v>-0.22600000000000001</c:v>
                </c:pt>
                <c:pt idx="196">
                  <c:v>-0.215</c:v>
                </c:pt>
                <c:pt idx="197">
                  <c:v>-0.189</c:v>
                </c:pt>
                <c:pt idx="198">
                  <c:v>-0.183</c:v>
                </c:pt>
                <c:pt idx="199">
                  <c:v>-0.186</c:v>
                </c:pt>
                <c:pt idx="200">
                  <c:v>-0.152</c:v>
                </c:pt>
                <c:pt idx="201">
                  <c:v>-0.122</c:v>
                </c:pt>
                <c:pt idx="202">
                  <c:v>-8.6999999999999994E-2</c:v>
                </c:pt>
                <c:pt idx="203">
                  <c:v>-0.129</c:v>
                </c:pt>
                <c:pt idx="204">
                  <c:v>-0.192</c:v>
                </c:pt>
                <c:pt idx="205">
                  <c:v>-0.16900000000000001</c:v>
                </c:pt>
                <c:pt idx="206">
                  <c:v>-0.14899999999999999</c:v>
                </c:pt>
                <c:pt idx="207">
                  <c:v>-0.107</c:v>
                </c:pt>
                <c:pt idx="208">
                  <c:v>-0.127</c:v>
                </c:pt>
                <c:pt idx="209">
                  <c:v>-0.10299999999999999</c:v>
                </c:pt>
                <c:pt idx="210">
                  <c:v>-0.107</c:v>
                </c:pt>
                <c:pt idx="211">
                  <c:v>-0.11600000000000001</c:v>
                </c:pt>
                <c:pt idx="212">
                  <c:v>-0.11899999999999999</c:v>
                </c:pt>
                <c:pt idx="213">
                  <c:v>-0.18</c:v>
                </c:pt>
                <c:pt idx="214">
                  <c:v>-0.13700000000000001</c:v>
                </c:pt>
                <c:pt idx="215">
                  <c:v>-0.107</c:v>
                </c:pt>
                <c:pt idx="216">
                  <c:v>-0.104</c:v>
                </c:pt>
                <c:pt idx="217">
                  <c:v>-0.16600000000000001</c:v>
                </c:pt>
                <c:pt idx="218">
                  <c:v>-0.17</c:v>
                </c:pt>
                <c:pt idx="219">
                  <c:v>-0.22700000000000001</c:v>
                </c:pt>
                <c:pt idx="220">
                  <c:v>-0.28299999999999997</c:v>
                </c:pt>
                <c:pt idx="221">
                  <c:v>-0.245</c:v>
                </c:pt>
                <c:pt idx="222">
                  <c:v>-0.3</c:v>
                </c:pt>
                <c:pt idx="223">
                  <c:v>-0.25</c:v>
                </c:pt>
                <c:pt idx="224">
                  <c:v>-0.23300000000000001</c:v>
                </c:pt>
                <c:pt idx="225">
                  <c:v>-0.26</c:v>
                </c:pt>
                <c:pt idx="226">
                  <c:v>-0.23</c:v>
                </c:pt>
                <c:pt idx="227">
                  <c:v>-0.24399999999999999</c:v>
                </c:pt>
                <c:pt idx="228">
                  <c:v>-0.248</c:v>
                </c:pt>
                <c:pt idx="229">
                  <c:v>-0.27700000000000002</c:v>
                </c:pt>
                <c:pt idx="230">
                  <c:v>-0.34399999999999997</c:v>
                </c:pt>
                <c:pt idx="231">
                  <c:v>-0.30299999999999999</c:v>
                </c:pt>
                <c:pt idx="232">
                  <c:v>-0.222</c:v>
                </c:pt>
                <c:pt idx="233">
                  <c:v>-0.23</c:v>
                </c:pt>
                <c:pt idx="234">
                  <c:v>-0.253</c:v>
                </c:pt>
                <c:pt idx="235">
                  <c:v>-0.33800000000000002</c:v>
                </c:pt>
                <c:pt idx="236">
                  <c:v>-0.31900000000000001</c:v>
                </c:pt>
                <c:pt idx="237">
                  <c:v>-0.35099999999999998</c:v>
                </c:pt>
                <c:pt idx="238">
                  <c:v>-0.34499999999999997</c:v>
                </c:pt>
                <c:pt idx="239">
                  <c:v>-0.372</c:v>
                </c:pt>
                <c:pt idx="240">
                  <c:v>-0.39100000000000001</c:v>
                </c:pt>
                <c:pt idx="241">
                  <c:v>-0.39100000000000001</c:v>
                </c:pt>
                <c:pt idx="242">
                  <c:v>-0.377</c:v>
                </c:pt>
                <c:pt idx="243">
                  <c:v>-0.315</c:v>
                </c:pt>
                <c:pt idx="244">
                  <c:v>-0.35599999999999998</c:v>
                </c:pt>
                <c:pt idx="245">
                  <c:v>-0.34899999999999998</c:v>
                </c:pt>
                <c:pt idx="246">
                  <c:v>-0.38400000000000001</c:v>
                </c:pt>
                <c:pt idx="247">
                  <c:v>-0.371</c:v>
                </c:pt>
                <c:pt idx="248">
                  <c:v>-0.36399999999999999</c:v>
                </c:pt>
                <c:pt idx="249">
                  <c:v>-0.35199999999999998</c:v>
                </c:pt>
                <c:pt idx="250">
                  <c:v>-0.38200000000000001</c:v>
                </c:pt>
                <c:pt idx="251">
                  <c:v>-0.371</c:v>
                </c:pt>
                <c:pt idx="252">
                  <c:v>-0.309</c:v>
                </c:pt>
                <c:pt idx="253">
                  <c:v>-0.29499999999999998</c:v>
                </c:pt>
                <c:pt idx="254">
                  <c:v>-0.253</c:v>
                </c:pt>
                <c:pt idx="255">
                  <c:v>-0.253</c:v>
                </c:pt>
                <c:pt idx="256">
                  <c:v>-0.246</c:v>
                </c:pt>
                <c:pt idx="257">
                  <c:v>-0.24</c:v>
                </c:pt>
                <c:pt idx="258">
                  <c:v>-0.188</c:v>
                </c:pt>
                <c:pt idx="259">
                  <c:v>-0.182</c:v>
                </c:pt>
                <c:pt idx="260">
                  <c:v>-0.182</c:v>
                </c:pt>
                <c:pt idx="261">
                  <c:v>-0.122</c:v>
                </c:pt>
                <c:pt idx="262">
                  <c:v>-0.124</c:v>
                </c:pt>
                <c:pt idx="263">
                  <c:v>-8.5999999999999993E-2</c:v>
                </c:pt>
                <c:pt idx="264">
                  <c:v>-6.3E-2</c:v>
                </c:pt>
                <c:pt idx="265">
                  <c:v>-4.4999999999999998E-2</c:v>
                </c:pt>
                <c:pt idx="266">
                  <c:v>-3.5999999999999997E-2</c:v>
                </c:pt>
                <c:pt idx="267">
                  <c:v>-2.9000000000000001E-2</c:v>
                </c:pt>
                <c:pt idx="268">
                  <c:v>-6.0999999999999999E-2</c:v>
                </c:pt>
                <c:pt idx="269">
                  <c:v>-9.1999999999999998E-2</c:v>
                </c:pt>
                <c:pt idx="270">
                  <c:v>-4.8000000000000001E-2</c:v>
                </c:pt>
                <c:pt idx="271">
                  <c:v>-2.7E-2</c:v>
                </c:pt>
                <c:pt idx="272">
                  <c:v>-0.02</c:v>
                </c:pt>
                <c:pt idx="273">
                  <c:v>-1.4E-2</c:v>
                </c:pt>
                <c:pt idx="274">
                  <c:v>-2.7E-2</c:v>
                </c:pt>
                <c:pt idx="275">
                  <c:v>-6.7000000000000004E-2</c:v>
                </c:pt>
                <c:pt idx="276">
                  <c:v>-0.109</c:v>
                </c:pt>
                <c:pt idx="277">
                  <c:v>-8.2000000000000003E-2</c:v>
                </c:pt>
                <c:pt idx="278">
                  <c:v>-7.5999999999999998E-2</c:v>
                </c:pt>
                <c:pt idx="279">
                  <c:v>-0.06</c:v>
                </c:pt>
                <c:pt idx="280">
                  <c:v>-4.7E-2</c:v>
                </c:pt>
                <c:pt idx="281">
                  <c:v>8.9999999999999993E-3</c:v>
                </c:pt>
                <c:pt idx="282">
                  <c:v>3.4000000000000002E-2</c:v>
                </c:pt>
                <c:pt idx="283">
                  <c:v>3.7999999999999999E-2</c:v>
                </c:pt>
                <c:pt idx="284">
                  <c:v>0.13900000000000001</c:v>
                </c:pt>
                <c:pt idx="285">
                  <c:v>0.20300000000000001</c:v>
                </c:pt>
                <c:pt idx="286">
                  <c:v>0.22500000000000001</c:v>
                </c:pt>
                <c:pt idx="287">
                  <c:v>0.26300000000000001</c:v>
                </c:pt>
                <c:pt idx="288">
                  <c:v>0.21</c:v>
                </c:pt>
                <c:pt idx="289">
                  <c:v>0.28100000000000003</c:v>
                </c:pt>
                <c:pt idx="290">
                  <c:v>0.29399999999999998</c:v>
                </c:pt>
                <c:pt idx="291">
                  <c:v>0.28100000000000003</c:v>
                </c:pt>
                <c:pt idx="292">
                  <c:v>0.30599999999999999</c:v>
                </c:pt>
                <c:pt idx="293">
                  <c:v>0.27400000000000002</c:v>
                </c:pt>
                <c:pt idx="294">
                  <c:v>0.22900000000000001</c:v>
                </c:pt>
                <c:pt idx="295">
                  <c:v>0.19</c:v>
                </c:pt>
                <c:pt idx="296">
                  <c:v>0.20499999999999999</c:v>
                </c:pt>
                <c:pt idx="297">
                  <c:v>0.24099999999999999</c:v>
                </c:pt>
                <c:pt idx="298">
                  <c:v>0.22600000000000001</c:v>
                </c:pt>
                <c:pt idx="299">
                  <c:v>0.16900000000000001</c:v>
                </c:pt>
                <c:pt idx="300">
                  <c:v>0.22900000000000001</c:v>
                </c:pt>
                <c:pt idx="301">
                  <c:v>0.13200000000000001</c:v>
                </c:pt>
                <c:pt idx="302">
                  <c:v>-7.5999999999999998E-2</c:v>
                </c:pt>
                <c:pt idx="303">
                  <c:v>2.3E-2</c:v>
                </c:pt>
                <c:pt idx="304">
                  <c:v>1.6E-2</c:v>
                </c:pt>
                <c:pt idx="305">
                  <c:v>-7.2999999999999995E-2</c:v>
                </c:pt>
                <c:pt idx="306">
                  <c:v>-1.9E-2</c:v>
                </c:pt>
                <c:pt idx="307">
                  <c:v>0.109</c:v>
                </c:pt>
                <c:pt idx="308">
                  <c:v>0.21299999999999999</c:v>
                </c:pt>
                <c:pt idx="309">
                  <c:v>0.27</c:v>
                </c:pt>
                <c:pt idx="310">
                  <c:v>0.246</c:v>
                </c:pt>
                <c:pt idx="311">
                  <c:v>0.36499999999999999</c:v>
                </c:pt>
                <c:pt idx="312">
                  <c:v>0.33</c:v>
                </c:pt>
                <c:pt idx="313">
                  <c:v>0.38900000000000001</c:v>
                </c:pt>
                <c:pt idx="314">
                  <c:v>0.38200000000000001</c:v>
                </c:pt>
                <c:pt idx="315">
                  <c:v>0.37</c:v>
                </c:pt>
                <c:pt idx="316">
                  <c:v>0.46700000000000003</c:v>
                </c:pt>
                <c:pt idx="317">
                  <c:v>0.502</c:v>
                </c:pt>
                <c:pt idx="318">
                  <c:v>0.46400000000000002</c:v>
                </c:pt>
                <c:pt idx="319">
                  <c:v>0.52900000000000003</c:v>
                </c:pt>
                <c:pt idx="320">
                  <c:v>0.58399999999999996</c:v>
                </c:pt>
                <c:pt idx="321">
                  <c:v>0.57599999999999996</c:v>
                </c:pt>
                <c:pt idx="322">
                  <c:v>0.63</c:v>
                </c:pt>
                <c:pt idx="323">
                  <c:v>0.64300000000000002</c:v>
                </c:pt>
                <c:pt idx="324">
                  <c:v>0.54500000000000004</c:v>
                </c:pt>
                <c:pt idx="325">
                  <c:v>0.55300000000000005</c:v>
                </c:pt>
                <c:pt idx="326">
                  <c:v>0.503</c:v>
                </c:pt>
                <c:pt idx="327">
                  <c:v>0.61199999999999999</c:v>
                </c:pt>
                <c:pt idx="328">
                  <c:v>0.64500000000000002</c:v>
                </c:pt>
                <c:pt idx="329">
                  <c:v>0.67900000000000005</c:v>
                </c:pt>
                <c:pt idx="330">
                  <c:v>0.70399999999999996</c:v>
                </c:pt>
                <c:pt idx="331">
                  <c:v>0.81399999999999995</c:v>
                </c:pt>
                <c:pt idx="332">
                  <c:v>0.78800000000000003</c:v>
                </c:pt>
                <c:pt idx="333">
                  <c:v>0.76400000000000001</c:v>
                </c:pt>
                <c:pt idx="334">
                  <c:v>0.83899999999999997</c:v>
                </c:pt>
                <c:pt idx="335">
                  <c:v>0.83899999999999997</c:v>
                </c:pt>
                <c:pt idx="336">
                  <c:v>0.83899999999999997</c:v>
                </c:pt>
                <c:pt idx="337">
                  <c:v>0.90800000000000003</c:v>
                </c:pt>
                <c:pt idx="338">
                  <c:v>0.85399999999999998</c:v>
                </c:pt>
                <c:pt idx="339">
                  <c:v>0.94499999999999995</c:v>
                </c:pt>
                <c:pt idx="340">
                  <c:v>0.96899999999999997</c:v>
                </c:pt>
                <c:pt idx="341">
                  <c:v>0.83499999999999996</c:v>
                </c:pt>
                <c:pt idx="342">
                  <c:v>0.81200000000000006</c:v>
                </c:pt>
                <c:pt idx="343">
                  <c:v>0.79900000000000004</c:v>
                </c:pt>
                <c:pt idx="344">
                  <c:v>0.89800000000000002</c:v>
                </c:pt>
                <c:pt idx="345">
                  <c:v>0.93700000000000006</c:v>
                </c:pt>
                <c:pt idx="346">
                  <c:v>0.96499999999999997</c:v>
                </c:pt>
                <c:pt idx="347">
                  <c:v>0.96299999999999997</c:v>
                </c:pt>
                <c:pt idx="348">
                  <c:v>0.96899999999999997</c:v>
                </c:pt>
                <c:pt idx="349">
                  <c:v>1.042</c:v>
                </c:pt>
                <c:pt idx="350">
                  <c:v>1.129</c:v>
                </c:pt>
                <c:pt idx="351">
                  <c:v>1.093</c:v>
                </c:pt>
                <c:pt idx="352">
                  <c:v>0.998</c:v>
                </c:pt>
                <c:pt idx="353">
                  <c:v>0.98299999999999998</c:v>
                </c:pt>
                <c:pt idx="354">
                  <c:v>0.83699999999999997</c:v>
                </c:pt>
                <c:pt idx="355">
                  <c:v>0.94399999999999995</c:v>
                </c:pt>
                <c:pt idx="356">
                  <c:v>0.93500000000000005</c:v>
                </c:pt>
                <c:pt idx="357">
                  <c:v>1.0429999999999999</c:v>
                </c:pt>
                <c:pt idx="358">
                  <c:v>1.0269999999999999</c:v>
                </c:pt>
                <c:pt idx="359">
                  <c:v>0.94699999999999995</c:v>
                </c:pt>
                <c:pt idx="360">
                  <c:v>0.94099999999999995</c:v>
                </c:pt>
                <c:pt idx="361">
                  <c:v>1.014</c:v>
                </c:pt>
                <c:pt idx="362">
                  <c:v>0.96499999999999997</c:v>
                </c:pt>
                <c:pt idx="363">
                  <c:v>0.94899999999999995</c:v>
                </c:pt>
                <c:pt idx="364">
                  <c:v>0.996</c:v>
                </c:pt>
                <c:pt idx="365">
                  <c:v>0.96</c:v>
                </c:pt>
                <c:pt idx="366">
                  <c:v>1.0529999999999999</c:v>
                </c:pt>
                <c:pt idx="367">
                  <c:v>1.1200000000000001</c:v>
                </c:pt>
                <c:pt idx="368">
                  <c:v>1.1839999999999999</c:v>
                </c:pt>
                <c:pt idx="369">
                  <c:v>1.234</c:v>
                </c:pt>
                <c:pt idx="370">
                  <c:v>1.27</c:v>
                </c:pt>
                <c:pt idx="371">
                  <c:v>1.319</c:v>
                </c:pt>
                <c:pt idx="372">
                  <c:v>1.29</c:v>
                </c:pt>
                <c:pt idx="373">
                  <c:v>1.351</c:v>
                </c:pt>
                <c:pt idx="374">
                  <c:v>1.4259999999999999</c:v>
                </c:pt>
                <c:pt idx="375">
                  <c:v>1.514</c:v>
                </c:pt>
                <c:pt idx="376">
                  <c:v>1.629</c:v>
                </c:pt>
                <c:pt idx="377">
                  <c:v>1.7509999999999999</c:v>
                </c:pt>
                <c:pt idx="378">
                  <c:v>1.639</c:v>
                </c:pt>
                <c:pt idx="379">
                  <c:v>1.71</c:v>
                </c:pt>
                <c:pt idx="380">
                  <c:v>1.657</c:v>
                </c:pt>
                <c:pt idx="381">
                  <c:v>1.7450000000000001</c:v>
                </c:pt>
                <c:pt idx="382">
                  <c:v>1.7669999999999999</c:v>
                </c:pt>
                <c:pt idx="383">
                  <c:v>1.633</c:v>
                </c:pt>
                <c:pt idx="384">
                  <c:v>1.425</c:v>
                </c:pt>
                <c:pt idx="385">
                  <c:v>1.4370000000000001</c:v>
                </c:pt>
                <c:pt idx="386">
                  <c:v>1.544</c:v>
                </c:pt>
                <c:pt idx="387">
                  <c:v>1.6240000000000001</c:v>
                </c:pt>
                <c:pt idx="388">
                  <c:v>1.5169999999999999</c:v>
                </c:pt>
                <c:pt idx="389">
                  <c:v>1.333</c:v>
                </c:pt>
                <c:pt idx="390">
                  <c:v>1.2290000000000001</c:v>
                </c:pt>
                <c:pt idx="391">
                  <c:v>1.33</c:v>
                </c:pt>
                <c:pt idx="392">
                  <c:v>1.175</c:v>
                </c:pt>
                <c:pt idx="393">
                  <c:v>1.2030000000000001</c:v>
                </c:pt>
                <c:pt idx="394">
                  <c:v>1.3140000000000001</c:v>
                </c:pt>
                <c:pt idx="395">
                  <c:v>1.341</c:v>
                </c:pt>
                <c:pt idx="396">
                  <c:v>1.242</c:v>
                </c:pt>
                <c:pt idx="397">
                  <c:v>1.129</c:v>
                </c:pt>
                <c:pt idx="398">
                  <c:v>1.141</c:v>
                </c:pt>
                <c:pt idx="399">
                  <c:v>1.1739999999999999</c:v>
                </c:pt>
                <c:pt idx="400">
                  <c:v>1.129</c:v>
                </c:pt>
                <c:pt idx="401">
                  <c:v>1.2110000000000001</c:v>
                </c:pt>
                <c:pt idx="402">
                  <c:v>1.2729999999999999</c:v>
                </c:pt>
                <c:pt idx="403">
                  <c:v>1.2529999999999999</c:v>
                </c:pt>
                <c:pt idx="404">
                  <c:v>1.218</c:v>
                </c:pt>
                <c:pt idx="405">
                  <c:v>1.0269999999999999</c:v>
                </c:pt>
                <c:pt idx="406">
                  <c:v>1.0149999999999999</c:v>
                </c:pt>
                <c:pt idx="407">
                  <c:v>0.92200000000000004</c:v>
                </c:pt>
                <c:pt idx="408">
                  <c:v>0.94299999999999995</c:v>
                </c:pt>
                <c:pt idx="409">
                  <c:v>0.82299999999999995</c:v>
                </c:pt>
                <c:pt idx="410">
                  <c:v>0.81399999999999995</c:v>
                </c:pt>
                <c:pt idx="411">
                  <c:v>0.77600000000000002</c:v>
                </c:pt>
                <c:pt idx="412">
                  <c:v>0.81599999999999995</c:v>
                </c:pt>
                <c:pt idx="413">
                  <c:v>0.871</c:v>
                </c:pt>
                <c:pt idx="414">
                  <c:v>0.8</c:v>
                </c:pt>
                <c:pt idx="415">
                  <c:v>0.95199999999999996</c:v>
                </c:pt>
                <c:pt idx="416">
                  <c:v>0.89500000000000002</c:v>
                </c:pt>
                <c:pt idx="417">
                  <c:v>0.91700000000000004</c:v>
                </c:pt>
                <c:pt idx="418">
                  <c:v>0.88600000000000001</c:v>
                </c:pt>
                <c:pt idx="419">
                  <c:v>0.96899999999999997</c:v>
                </c:pt>
                <c:pt idx="420">
                  <c:v>0.98499999999999999</c:v>
                </c:pt>
                <c:pt idx="421">
                  <c:v>0.89700000000000002</c:v>
                </c:pt>
                <c:pt idx="422">
                  <c:v>0.96899999999999997</c:v>
                </c:pt>
                <c:pt idx="423">
                  <c:v>1.08</c:v>
                </c:pt>
                <c:pt idx="424">
                  <c:v>1.099</c:v>
                </c:pt>
                <c:pt idx="425">
                  <c:v>1.2270000000000001</c:v>
                </c:pt>
                <c:pt idx="426">
                  <c:v>1.3029999999999999</c:v>
                </c:pt>
                <c:pt idx="427">
                  <c:v>1.3160000000000001</c:v>
                </c:pt>
                <c:pt idx="428">
                  <c:v>1.367</c:v>
                </c:pt>
                <c:pt idx="429">
                  <c:v>1.3129999999999999</c:v>
                </c:pt>
                <c:pt idx="430">
                  <c:v>1.3859999999999999</c:v>
                </c:pt>
                <c:pt idx="431">
                  <c:v>1.5</c:v>
                </c:pt>
                <c:pt idx="432">
                  <c:v>1.508</c:v>
                </c:pt>
                <c:pt idx="433">
                  <c:v>1.5369999999999999</c:v>
                </c:pt>
                <c:pt idx="434">
                  <c:v>1.5580000000000001</c:v>
                </c:pt>
                <c:pt idx="435">
                  <c:v>1.5209999999999999</c:v>
                </c:pt>
                <c:pt idx="436">
                  <c:v>1.56</c:v>
                </c:pt>
                <c:pt idx="437">
                  <c:v>1.6339999999999999</c:v>
                </c:pt>
                <c:pt idx="438">
                  <c:v>1.573</c:v>
                </c:pt>
                <c:pt idx="439">
                  <c:v>1.712</c:v>
                </c:pt>
                <c:pt idx="440">
                  <c:v>1.694</c:v>
                </c:pt>
                <c:pt idx="441">
                  <c:v>1.65</c:v>
                </c:pt>
                <c:pt idx="442">
                  <c:v>1.726</c:v>
                </c:pt>
                <c:pt idx="443">
                  <c:v>1.712</c:v>
                </c:pt>
                <c:pt idx="444">
                  <c:v>1.766</c:v>
                </c:pt>
                <c:pt idx="445">
                  <c:v>1.754</c:v>
                </c:pt>
                <c:pt idx="446">
                  <c:v>1.802</c:v>
                </c:pt>
                <c:pt idx="447">
                  <c:v>1.923</c:v>
                </c:pt>
                <c:pt idx="448">
                  <c:v>1.889</c:v>
                </c:pt>
                <c:pt idx="449">
                  <c:v>1.9610000000000001</c:v>
                </c:pt>
                <c:pt idx="450">
                  <c:v>2.02</c:v>
                </c:pt>
                <c:pt idx="451">
                  <c:v>2.1110000000000002</c:v>
                </c:pt>
                <c:pt idx="452">
                  <c:v>2.226</c:v>
                </c:pt>
                <c:pt idx="453">
                  <c:v>2.1150000000000002</c:v>
                </c:pt>
                <c:pt idx="454">
                  <c:v>2.1779999999999999</c:v>
                </c:pt>
                <c:pt idx="455">
                  <c:v>2.105</c:v>
                </c:pt>
                <c:pt idx="456">
                  <c:v>1.913</c:v>
                </c:pt>
                <c:pt idx="457">
                  <c:v>1.867</c:v>
                </c:pt>
                <c:pt idx="458">
                  <c:v>2.0289999999999999</c:v>
                </c:pt>
                <c:pt idx="459">
                  <c:v>2.0819999999999999</c:v>
                </c:pt>
                <c:pt idx="460">
                  <c:v>2.1909999999999998</c:v>
                </c:pt>
                <c:pt idx="461">
                  <c:v>2.3370000000000002</c:v>
                </c:pt>
                <c:pt idx="462">
                  <c:v>2.294</c:v>
                </c:pt>
                <c:pt idx="463">
                  <c:v>2.3090000000000002</c:v>
                </c:pt>
                <c:pt idx="464">
                  <c:v>2.2810000000000001</c:v>
                </c:pt>
                <c:pt idx="465">
                  <c:v>2.343</c:v>
                </c:pt>
                <c:pt idx="466">
                  <c:v>2.266</c:v>
                </c:pt>
                <c:pt idx="467">
                  <c:v>2.2810000000000001</c:v>
                </c:pt>
                <c:pt idx="468">
                  <c:v>2.371</c:v>
                </c:pt>
                <c:pt idx="469">
                  <c:v>2.399</c:v>
                </c:pt>
                <c:pt idx="470">
                  <c:v>2.4129999999999998</c:v>
                </c:pt>
                <c:pt idx="471">
                  <c:v>2.327</c:v>
                </c:pt>
                <c:pt idx="472">
                  <c:v>2.1669999999999998</c:v>
                </c:pt>
                <c:pt idx="473">
                  <c:v>2.109</c:v>
                </c:pt>
                <c:pt idx="474">
                  <c:v>1.9590000000000001</c:v>
                </c:pt>
                <c:pt idx="475">
                  <c:v>2.0990000000000002</c:v>
                </c:pt>
                <c:pt idx="476">
                  <c:v>2.1389999999999998</c:v>
                </c:pt>
                <c:pt idx="477">
                  <c:v>2.129</c:v>
                </c:pt>
                <c:pt idx="478">
                  <c:v>2.1349999999999998</c:v>
                </c:pt>
                <c:pt idx="479">
                  <c:v>2.242</c:v>
                </c:pt>
                <c:pt idx="480">
                  <c:v>2.2919999999999998</c:v>
                </c:pt>
                <c:pt idx="481">
                  <c:v>2.3410000000000002</c:v>
                </c:pt>
                <c:pt idx="482">
                  <c:v>2.278</c:v>
                </c:pt>
                <c:pt idx="483">
                  <c:v>2.1669999999999998</c:v>
                </c:pt>
                <c:pt idx="484">
                  <c:v>2.0049999999999999</c:v>
                </c:pt>
                <c:pt idx="485">
                  <c:v>2.157</c:v>
                </c:pt>
                <c:pt idx="486">
                  <c:v>2.1429999999999998</c:v>
                </c:pt>
                <c:pt idx="487">
                  <c:v>2.105</c:v>
                </c:pt>
                <c:pt idx="488">
                  <c:v>1.994</c:v>
                </c:pt>
                <c:pt idx="489">
                  <c:v>2.0150000000000001</c:v>
                </c:pt>
                <c:pt idx="490">
                  <c:v>2.0099999999999998</c:v>
                </c:pt>
                <c:pt idx="491">
                  <c:v>1.9890000000000001</c:v>
                </c:pt>
                <c:pt idx="492">
                  <c:v>1.9750000000000001</c:v>
                </c:pt>
                <c:pt idx="493">
                  <c:v>1.9259999999999999</c:v>
                </c:pt>
                <c:pt idx="494">
                  <c:v>1.847</c:v>
                </c:pt>
                <c:pt idx="495">
                  <c:v>1.9710000000000001</c:v>
                </c:pt>
                <c:pt idx="496">
                  <c:v>1.986</c:v>
                </c:pt>
                <c:pt idx="497">
                  <c:v>1.9179999999999999</c:v>
                </c:pt>
                <c:pt idx="498">
                  <c:v>1.9259999999999999</c:v>
                </c:pt>
                <c:pt idx="499">
                  <c:v>1.81</c:v>
                </c:pt>
                <c:pt idx="500">
                  <c:v>1.851</c:v>
                </c:pt>
                <c:pt idx="501">
                  <c:v>1.877</c:v>
                </c:pt>
                <c:pt idx="502">
                  <c:v>1.794</c:v>
                </c:pt>
                <c:pt idx="503">
                  <c:v>1.778</c:v>
                </c:pt>
                <c:pt idx="504">
                  <c:v>1.8149999999999999</c:v>
                </c:pt>
                <c:pt idx="505">
                  <c:v>1.9279999999999999</c:v>
                </c:pt>
                <c:pt idx="506">
                  <c:v>1.9350000000000001</c:v>
                </c:pt>
                <c:pt idx="507">
                  <c:v>1.92</c:v>
                </c:pt>
                <c:pt idx="508">
                  <c:v>1.9359999999999999</c:v>
                </c:pt>
                <c:pt idx="509">
                  <c:v>2.0779999999999998</c:v>
                </c:pt>
                <c:pt idx="510">
                  <c:v>2.1480000000000001</c:v>
                </c:pt>
                <c:pt idx="511">
                  <c:v>2.1989999999999998</c:v>
                </c:pt>
                <c:pt idx="512">
                  <c:v>2.298</c:v>
                </c:pt>
                <c:pt idx="513">
                  <c:v>2.3079999999999998</c:v>
                </c:pt>
                <c:pt idx="514">
                  <c:v>2.3570000000000002</c:v>
                </c:pt>
                <c:pt idx="515">
                  <c:v>2.3929999999999998</c:v>
                </c:pt>
                <c:pt idx="516">
                  <c:v>2.3929999999999998</c:v>
                </c:pt>
                <c:pt idx="517">
                  <c:v>2.5179999999999998</c:v>
                </c:pt>
                <c:pt idx="518">
                  <c:v>2.4940000000000002</c:v>
                </c:pt>
                <c:pt idx="519">
                  <c:v>2.4329999999999998</c:v>
                </c:pt>
                <c:pt idx="520">
                  <c:v>2.5649999999999999</c:v>
                </c:pt>
                <c:pt idx="521">
                  <c:v>2.4359999999999999</c:v>
                </c:pt>
                <c:pt idx="522">
                  <c:v>2.3839999999999999</c:v>
                </c:pt>
                <c:pt idx="523">
                  <c:v>2.2679999999999998</c:v>
                </c:pt>
                <c:pt idx="524">
                  <c:v>2.3119999999999998</c:v>
                </c:pt>
                <c:pt idx="525">
                  <c:v>2.2069999999999999</c:v>
                </c:pt>
                <c:pt idx="526">
                  <c:v>2.226</c:v>
                </c:pt>
                <c:pt idx="527">
                  <c:v>2.2679999999999998</c:v>
                </c:pt>
              </c:numCache>
            </c:numRef>
          </c:val>
          <c:smooth val="0"/>
          <c:extLst>
            <c:ext xmlns:c16="http://schemas.microsoft.com/office/drawing/2014/chart" uri="{C3380CC4-5D6E-409C-BE32-E72D297353CC}">
              <c16:uniqueId val="{00000002-B517-4AE2-8579-2E259B148CE8}"/>
            </c:ext>
          </c:extLst>
        </c:ser>
        <c:dLbls>
          <c:showLegendKey val="0"/>
          <c:showVal val="0"/>
          <c:showCatName val="0"/>
          <c:showSerName val="0"/>
          <c:showPercent val="0"/>
          <c:showBubbleSize val="0"/>
        </c:dLbls>
        <c:marker val="1"/>
        <c:smooth val="0"/>
        <c:axId val="1301220952"/>
        <c:axId val="1301221936"/>
      </c:lineChart>
      <c:dateAx>
        <c:axId val="1301220952"/>
        <c:scaling>
          <c:orientation val="minMax"/>
        </c:scaling>
        <c:delete val="0"/>
        <c:axPos val="b"/>
        <c:numFmt formatCode="mmm/\ yyyy" sourceLinked="0"/>
        <c:majorTickMark val="none"/>
        <c:minorTickMark val="none"/>
        <c:tickLblPos val="low"/>
        <c:spPr>
          <a:noFill/>
          <a:ln w="19050" cap="flat" cmpd="sng" algn="ctr">
            <a:solidFill>
              <a:srgbClr val="C00000"/>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01221936"/>
        <c:crosses val="autoZero"/>
        <c:auto val="0"/>
        <c:lblOffset val="100"/>
        <c:baseTimeUnit val="days"/>
        <c:majorUnit val="105"/>
        <c:majorTimeUnit val="days"/>
      </c:dateAx>
      <c:valAx>
        <c:axId val="13012219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solidFill>
            <a:schemeClr val="accent1"/>
          </a:solid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01220952"/>
        <c:crosses val="autoZero"/>
        <c:crossBetween val="between"/>
        <c:dispUnits>
          <c:builtInUnit val="hundreds"/>
        </c:dispUnits>
      </c:valAx>
      <c:valAx>
        <c:axId val="1285150840"/>
        <c:scaling>
          <c:orientation val="minMax"/>
        </c:scaling>
        <c:delete val="0"/>
        <c:axPos val="r"/>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r>
                  <a:rPr lang="de-DE" sz="1800"/>
                  <a:t>Basispunkte</a:t>
                </a:r>
              </a:p>
            </c:rich>
          </c:tx>
          <c:layout>
            <c:manualLayout>
              <c:xMode val="edge"/>
              <c:yMode val="edge"/>
              <c:x val="0.95987197263458113"/>
              <c:y val="0.3463415629738521"/>
            </c:manualLayout>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title>
        <c:numFmt formatCode="General" sourceLinked="1"/>
        <c:majorTickMark val="out"/>
        <c:minorTickMark val="none"/>
        <c:tickLblPos val="nextTo"/>
        <c:spPr>
          <a:solidFill>
            <a:schemeClr val="bg1">
              <a:lumMod val="75000"/>
            </a:schemeClr>
          </a:solid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285152480"/>
        <c:crosses val="max"/>
        <c:crossBetween val="between"/>
      </c:valAx>
      <c:dateAx>
        <c:axId val="1285152480"/>
        <c:scaling>
          <c:orientation val="minMax"/>
        </c:scaling>
        <c:delete val="1"/>
        <c:axPos val="b"/>
        <c:numFmt formatCode="mm/dd/yyyy" sourceLinked="1"/>
        <c:majorTickMark val="out"/>
        <c:minorTickMark val="none"/>
        <c:tickLblPos val="nextTo"/>
        <c:crossAx val="1285150840"/>
        <c:crosses val="autoZero"/>
        <c:auto val="1"/>
        <c:lblOffset val="100"/>
        <c:baseTimeUnit val="days"/>
      </c:dateAx>
      <c:spPr>
        <a:noFill/>
        <a:ln>
          <a:noFill/>
        </a:ln>
        <a:effectLst/>
      </c:spPr>
    </c:plotArea>
    <c:legend>
      <c:legendPos val="t"/>
      <c:layout>
        <c:manualLayout>
          <c:xMode val="edge"/>
          <c:yMode val="edge"/>
          <c:x val="8.3145114716788149E-2"/>
          <c:y val="5.3365105223074645E-2"/>
          <c:w val="0.35298208512655455"/>
          <c:h val="0.17885473976344088"/>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766717322197088E-2"/>
          <c:y val="3.9622748278072654E-2"/>
          <c:w val="0.95008906598381415"/>
          <c:h val="0.79226412557688741"/>
        </c:manualLayout>
      </c:layout>
      <c:lineChart>
        <c:grouping val="standard"/>
        <c:varyColors val="0"/>
        <c:ser>
          <c:idx val="0"/>
          <c:order val="0"/>
          <c:tx>
            <c:v>Rendite Ö Staatsanleihen (%)</c:v>
          </c:tx>
          <c:spPr>
            <a:ln w="28575" cap="rnd">
              <a:solidFill>
                <a:schemeClr val="accent1"/>
              </a:solidFill>
              <a:round/>
            </a:ln>
            <a:effectLst/>
          </c:spPr>
          <c:marker>
            <c:symbol val="none"/>
          </c:marker>
          <c:cat>
            <c:numRef>
              <c:f>Tabelle1!$D$4:$D$244</c:f>
              <c:numCache>
                <c:formatCode>m/d/yyyy</c:formatCode>
                <c:ptCount val="241"/>
                <c:pt idx="0">
                  <c:v>37622</c:v>
                </c:pt>
                <c:pt idx="1">
                  <c:v>37653</c:v>
                </c:pt>
                <c:pt idx="2">
                  <c:v>37681</c:v>
                </c:pt>
                <c:pt idx="3">
                  <c:v>37712</c:v>
                </c:pt>
                <c:pt idx="4">
                  <c:v>37742</c:v>
                </c:pt>
                <c:pt idx="5">
                  <c:v>37773</c:v>
                </c:pt>
                <c:pt idx="6">
                  <c:v>37803</c:v>
                </c:pt>
                <c:pt idx="7">
                  <c:v>37834</c:v>
                </c:pt>
                <c:pt idx="8">
                  <c:v>37865</c:v>
                </c:pt>
                <c:pt idx="9">
                  <c:v>37895</c:v>
                </c:pt>
                <c:pt idx="10">
                  <c:v>37926</c:v>
                </c:pt>
                <c:pt idx="11">
                  <c:v>37956</c:v>
                </c:pt>
                <c:pt idx="12">
                  <c:v>37987</c:v>
                </c:pt>
                <c:pt idx="13">
                  <c:v>38018</c:v>
                </c:pt>
                <c:pt idx="14">
                  <c:v>38047</c:v>
                </c:pt>
                <c:pt idx="15">
                  <c:v>38078</c:v>
                </c:pt>
                <c:pt idx="16">
                  <c:v>38108</c:v>
                </c:pt>
                <c:pt idx="17">
                  <c:v>38139</c:v>
                </c:pt>
                <c:pt idx="18">
                  <c:v>38169</c:v>
                </c:pt>
                <c:pt idx="19">
                  <c:v>38200</c:v>
                </c:pt>
                <c:pt idx="20">
                  <c:v>38231</c:v>
                </c:pt>
                <c:pt idx="21">
                  <c:v>38261</c:v>
                </c:pt>
                <c:pt idx="22">
                  <c:v>38292</c:v>
                </c:pt>
                <c:pt idx="23">
                  <c:v>38322</c:v>
                </c:pt>
                <c:pt idx="24">
                  <c:v>38353</c:v>
                </c:pt>
                <c:pt idx="25">
                  <c:v>38384</c:v>
                </c:pt>
                <c:pt idx="26">
                  <c:v>38412</c:v>
                </c:pt>
                <c:pt idx="27">
                  <c:v>38443</c:v>
                </c:pt>
                <c:pt idx="28">
                  <c:v>38473</c:v>
                </c:pt>
                <c:pt idx="29">
                  <c:v>38504</c:v>
                </c:pt>
                <c:pt idx="30">
                  <c:v>38534</c:v>
                </c:pt>
                <c:pt idx="31">
                  <c:v>38565</c:v>
                </c:pt>
                <c:pt idx="32">
                  <c:v>38596</c:v>
                </c:pt>
                <c:pt idx="33">
                  <c:v>38626</c:v>
                </c:pt>
                <c:pt idx="34">
                  <c:v>38657</c:v>
                </c:pt>
                <c:pt idx="35">
                  <c:v>38687</c:v>
                </c:pt>
                <c:pt idx="36">
                  <c:v>38718</c:v>
                </c:pt>
                <c:pt idx="37">
                  <c:v>38749</c:v>
                </c:pt>
                <c:pt idx="38">
                  <c:v>38777</c:v>
                </c:pt>
                <c:pt idx="39">
                  <c:v>38808</c:v>
                </c:pt>
                <c:pt idx="40">
                  <c:v>38838</c:v>
                </c:pt>
                <c:pt idx="41">
                  <c:v>38869</c:v>
                </c:pt>
                <c:pt idx="42">
                  <c:v>38899</c:v>
                </c:pt>
                <c:pt idx="43">
                  <c:v>38930</c:v>
                </c:pt>
                <c:pt idx="44">
                  <c:v>38961</c:v>
                </c:pt>
                <c:pt idx="45">
                  <c:v>38991</c:v>
                </c:pt>
                <c:pt idx="46">
                  <c:v>39022</c:v>
                </c:pt>
                <c:pt idx="47">
                  <c:v>39052</c:v>
                </c:pt>
                <c:pt idx="48">
                  <c:v>39083</c:v>
                </c:pt>
                <c:pt idx="49">
                  <c:v>39114</c:v>
                </c:pt>
                <c:pt idx="50">
                  <c:v>39142</c:v>
                </c:pt>
                <c:pt idx="51">
                  <c:v>39173</c:v>
                </c:pt>
                <c:pt idx="52">
                  <c:v>39203</c:v>
                </c:pt>
                <c:pt idx="53">
                  <c:v>39234</c:v>
                </c:pt>
                <c:pt idx="54">
                  <c:v>39264</c:v>
                </c:pt>
                <c:pt idx="55">
                  <c:v>39295</c:v>
                </c:pt>
                <c:pt idx="56">
                  <c:v>39326</c:v>
                </c:pt>
                <c:pt idx="57">
                  <c:v>39356</c:v>
                </c:pt>
                <c:pt idx="58">
                  <c:v>39387</c:v>
                </c:pt>
                <c:pt idx="59">
                  <c:v>39417</c:v>
                </c:pt>
                <c:pt idx="60">
                  <c:v>39448</c:v>
                </c:pt>
                <c:pt idx="61">
                  <c:v>39479</c:v>
                </c:pt>
                <c:pt idx="62">
                  <c:v>39508</c:v>
                </c:pt>
                <c:pt idx="63">
                  <c:v>39539</c:v>
                </c:pt>
                <c:pt idx="64">
                  <c:v>39569</c:v>
                </c:pt>
                <c:pt idx="65">
                  <c:v>39600</c:v>
                </c:pt>
                <c:pt idx="66">
                  <c:v>39630</c:v>
                </c:pt>
                <c:pt idx="67">
                  <c:v>39661</c:v>
                </c:pt>
                <c:pt idx="68">
                  <c:v>39692</c:v>
                </c:pt>
                <c:pt idx="69">
                  <c:v>39722</c:v>
                </c:pt>
                <c:pt idx="70">
                  <c:v>39753</c:v>
                </c:pt>
                <c:pt idx="71">
                  <c:v>39783</c:v>
                </c:pt>
                <c:pt idx="72">
                  <c:v>39814</c:v>
                </c:pt>
                <c:pt idx="73">
                  <c:v>39845</c:v>
                </c:pt>
                <c:pt idx="74">
                  <c:v>39873</c:v>
                </c:pt>
                <c:pt idx="75">
                  <c:v>39904</c:v>
                </c:pt>
                <c:pt idx="76">
                  <c:v>39934</c:v>
                </c:pt>
                <c:pt idx="77">
                  <c:v>39965</c:v>
                </c:pt>
                <c:pt idx="78">
                  <c:v>39995</c:v>
                </c:pt>
                <c:pt idx="79">
                  <c:v>40026</c:v>
                </c:pt>
                <c:pt idx="80">
                  <c:v>40057</c:v>
                </c:pt>
                <c:pt idx="81">
                  <c:v>40087</c:v>
                </c:pt>
                <c:pt idx="82">
                  <c:v>40118</c:v>
                </c:pt>
                <c:pt idx="83">
                  <c:v>40148</c:v>
                </c:pt>
                <c:pt idx="84">
                  <c:v>40179</c:v>
                </c:pt>
                <c:pt idx="85">
                  <c:v>40210</c:v>
                </c:pt>
                <c:pt idx="86">
                  <c:v>40238</c:v>
                </c:pt>
                <c:pt idx="87">
                  <c:v>40269</c:v>
                </c:pt>
                <c:pt idx="88">
                  <c:v>40299</c:v>
                </c:pt>
                <c:pt idx="89">
                  <c:v>40330</c:v>
                </c:pt>
                <c:pt idx="90">
                  <c:v>40360</c:v>
                </c:pt>
                <c:pt idx="91">
                  <c:v>40391</c:v>
                </c:pt>
                <c:pt idx="92">
                  <c:v>40422</c:v>
                </c:pt>
                <c:pt idx="93">
                  <c:v>40452</c:v>
                </c:pt>
                <c:pt idx="94">
                  <c:v>40483</c:v>
                </c:pt>
                <c:pt idx="95">
                  <c:v>40513</c:v>
                </c:pt>
                <c:pt idx="96">
                  <c:v>40544</c:v>
                </c:pt>
                <c:pt idx="97">
                  <c:v>40575</c:v>
                </c:pt>
                <c:pt idx="98">
                  <c:v>40603</c:v>
                </c:pt>
                <c:pt idx="99">
                  <c:v>40634</c:v>
                </c:pt>
                <c:pt idx="100">
                  <c:v>40664</c:v>
                </c:pt>
                <c:pt idx="101">
                  <c:v>40695</c:v>
                </c:pt>
                <c:pt idx="102">
                  <c:v>40725</c:v>
                </c:pt>
                <c:pt idx="103">
                  <c:v>40756</c:v>
                </c:pt>
                <c:pt idx="104">
                  <c:v>40787</c:v>
                </c:pt>
                <c:pt idx="105">
                  <c:v>40817</c:v>
                </c:pt>
                <c:pt idx="106">
                  <c:v>40848</c:v>
                </c:pt>
                <c:pt idx="107">
                  <c:v>40878</c:v>
                </c:pt>
                <c:pt idx="108">
                  <c:v>40909</c:v>
                </c:pt>
                <c:pt idx="109">
                  <c:v>40940</c:v>
                </c:pt>
                <c:pt idx="110">
                  <c:v>40969</c:v>
                </c:pt>
                <c:pt idx="111">
                  <c:v>41000</c:v>
                </c:pt>
                <c:pt idx="112">
                  <c:v>41030</c:v>
                </c:pt>
                <c:pt idx="113">
                  <c:v>41061</c:v>
                </c:pt>
                <c:pt idx="114">
                  <c:v>41091</c:v>
                </c:pt>
                <c:pt idx="115">
                  <c:v>41122</c:v>
                </c:pt>
                <c:pt idx="116">
                  <c:v>41153</c:v>
                </c:pt>
                <c:pt idx="117">
                  <c:v>41183</c:v>
                </c:pt>
                <c:pt idx="118">
                  <c:v>41214</c:v>
                </c:pt>
                <c:pt idx="119">
                  <c:v>41244</c:v>
                </c:pt>
                <c:pt idx="120">
                  <c:v>41275</c:v>
                </c:pt>
                <c:pt idx="121">
                  <c:v>41306</c:v>
                </c:pt>
                <c:pt idx="122">
                  <c:v>41334</c:v>
                </c:pt>
                <c:pt idx="123">
                  <c:v>41365</c:v>
                </c:pt>
                <c:pt idx="124">
                  <c:v>41395</c:v>
                </c:pt>
                <c:pt idx="125">
                  <c:v>41426</c:v>
                </c:pt>
                <c:pt idx="126">
                  <c:v>41456</c:v>
                </c:pt>
                <c:pt idx="127">
                  <c:v>41487</c:v>
                </c:pt>
                <c:pt idx="128">
                  <c:v>41518</c:v>
                </c:pt>
                <c:pt idx="129">
                  <c:v>41548</c:v>
                </c:pt>
                <c:pt idx="130">
                  <c:v>41579</c:v>
                </c:pt>
                <c:pt idx="131">
                  <c:v>41609</c:v>
                </c:pt>
                <c:pt idx="132">
                  <c:v>41640</c:v>
                </c:pt>
                <c:pt idx="133">
                  <c:v>41671</c:v>
                </c:pt>
                <c:pt idx="134">
                  <c:v>41699</c:v>
                </c:pt>
                <c:pt idx="135">
                  <c:v>41730</c:v>
                </c:pt>
                <c:pt idx="136">
                  <c:v>41760</c:v>
                </c:pt>
                <c:pt idx="137">
                  <c:v>41791</c:v>
                </c:pt>
                <c:pt idx="138">
                  <c:v>41821</c:v>
                </c:pt>
                <c:pt idx="139">
                  <c:v>41852</c:v>
                </c:pt>
                <c:pt idx="140">
                  <c:v>41883</c:v>
                </c:pt>
                <c:pt idx="141">
                  <c:v>41913</c:v>
                </c:pt>
                <c:pt idx="142">
                  <c:v>41944</c:v>
                </c:pt>
                <c:pt idx="143">
                  <c:v>41974</c:v>
                </c:pt>
                <c:pt idx="144">
                  <c:v>42005</c:v>
                </c:pt>
                <c:pt idx="145">
                  <c:v>42036</c:v>
                </c:pt>
                <c:pt idx="146">
                  <c:v>42064</c:v>
                </c:pt>
                <c:pt idx="147">
                  <c:v>42095</c:v>
                </c:pt>
                <c:pt idx="148">
                  <c:v>42125</c:v>
                </c:pt>
                <c:pt idx="149">
                  <c:v>42156</c:v>
                </c:pt>
                <c:pt idx="150">
                  <c:v>42186</c:v>
                </c:pt>
                <c:pt idx="151">
                  <c:v>42217</c:v>
                </c:pt>
                <c:pt idx="152">
                  <c:v>42248</c:v>
                </c:pt>
                <c:pt idx="153">
                  <c:v>42278</c:v>
                </c:pt>
                <c:pt idx="154">
                  <c:v>42309</c:v>
                </c:pt>
                <c:pt idx="155">
                  <c:v>42339</c:v>
                </c:pt>
                <c:pt idx="156">
                  <c:v>42370</c:v>
                </c:pt>
                <c:pt idx="157">
                  <c:v>42401</c:v>
                </c:pt>
                <c:pt idx="158">
                  <c:v>42430</c:v>
                </c:pt>
                <c:pt idx="159">
                  <c:v>42461</c:v>
                </c:pt>
                <c:pt idx="160">
                  <c:v>42491</c:v>
                </c:pt>
                <c:pt idx="161">
                  <c:v>42522</c:v>
                </c:pt>
                <c:pt idx="162">
                  <c:v>42552</c:v>
                </c:pt>
                <c:pt idx="163">
                  <c:v>42583</c:v>
                </c:pt>
                <c:pt idx="164">
                  <c:v>42614</c:v>
                </c:pt>
                <c:pt idx="165">
                  <c:v>42644</c:v>
                </c:pt>
                <c:pt idx="166">
                  <c:v>42675</c:v>
                </c:pt>
                <c:pt idx="167">
                  <c:v>42705</c:v>
                </c:pt>
                <c:pt idx="168">
                  <c:v>42736</c:v>
                </c:pt>
                <c:pt idx="169">
                  <c:v>42767</c:v>
                </c:pt>
                <c:pt idx="170">
                  <c:v>42795</c:v>
                </c:pt>
                <c:pt idx="171">
                  <c:v>42826</c:v>
                </c:pt>
                <c:pt idx="172">
                  <c:v>42856</c:v>
                </c:pt>
                <c:pt idx="173">
                  <c:v>42887</c:v>
                </c:pt>
                <c:pt idx="174">
                  <c:v>42917</c:v>
                </c:pt>
                <c:pt idx="175">
                  <c:v>42948</c:v>
                </c:pt>
                <c:pt idx="176">
                  <c:v>42979</c:v>
                </c:pt>
                <c:pt idx="177">
                  <c:v>43009</c:v>
                </c:pt>
                <c:pt idx="178">
                  <c:v>43040</c:v>
                </c:pt>
                <c:pt idx="179">
                  <c:v>43070</c:v>
                </c:pt>
                <c:pt idx="180">
                  <c:v>43101</c:v>
                </c:pt>
                <c:pt idx="181">
                  <c:v>43132</c:v>
                </c:pt>
                <c:pt idx="182">
                  <c:v>43160</c:v>
                </c:pt>
                <c:pt idx="183">
                  <c:v>43191</c:v>
                </c:pt>
                <c:pt idx="184">
                  <c:v>43221</c:v>
                </c:pt>
                <c:pt idx="185">
                  <c:v>43252</c:v>
                </c:pt>
                <c:pt idx="186">
                  <c:v>43282</c:v>
                </c:pt>
                <c:pt idx="187">
                  <c:v>43313</c:v>
                </c:pt>
                <c:pt idx="188">
                  <c:v>43344</c:v>
                </c:pt>
                <c:pt idx="189">
                  <c:v>43374</c:v>
                </c:pt>
                <c:pt idx="190">
                  <c:v>43405</c:v>
                </c:pt>
                <c:pt idx="191">
                  <c:v>43435</c:v>
                </c:pt>
                <c:pt idx="192">
                  <c:v>43466</c:v>
                </c:pt>
                <c:pt idx="193">
                  <c:v>43497</c:v>
                </c:pt>
                <c:pt idx="194">
                  <c:v>43525</c:v>
                </c:pt>
                <c:pt idx="195">
                  <c:v>43556</c:v>
                </c:pt>
                <c:pt idx="196">
                  <c:v>43586</c:v>
                </c:pt>
                <c:pt idx="197">
                  <c:v>43617</c:v>
                </c:pt>
                <c:pt idx="198">
                  <c:v>43647</c:v>
                </c:pt>
                <c:pt idx="199">
                  <c:v>43678</c:v>
                </c:pt>
                <c:pt idx="200">
                  <c:v>43709</c:v>
                </c:pt>
                <c:pt idx="201">
                  <c:v>43739</c:v>
                </c:pt>
                <c:pt idx="202">
                  <c:v>43770</c:v>
                </c:pt>
                <c:pt idx="203">
                  <c:v>43800</c:v>
                </c:pt>
                <c:pt idx="204">
                  <c:v>43831</c:v>
                </c:pt>
                <c:pt idx="205">
                  <c:v>43862</c:v>
                </c:pt>
                <c:pt idx="206">
                  <c:v>43891</c:v>
                </c:pt>
                <c:pt idx="207">
                  <c:v>43922</c:v>
                </c:pt>
                <c:pt idx="208">
                  <c:v>43952</c:v>
                </c:pt>
                <c:pt idx="209">
                  <c:v>43983</c:v>
                </c:pt>
                <c:pt idx="210">
                  <c:v>44013</c:v>
                </c:pt>
                <c:pt idx="211">
                  <c:v>44044</c:v>
                </c:pt>
                <c:pt idx="212">
                  <c:v>44075</c:v>
                </c:pt>
                <c:pt idx="213">
                  <c:v>44105</c:v>
                </c:pt>
                <c:pt idx="214">
                  <c:v>44136</c:v>
                </c:pt>
                <c:pt idx="215">
                  <c:v>44166</c:v>
                </c:pt>
                <c:pt idx="216">
                  <c:v>44197</c:v>
                </c:pt>
                <c:pt idx="217">
                  <c:v>44228</c:v>
                </c:pt>
                <c:pt idx="218">
                  <c:v>44256</c:v>
                </c:pt>
                <c:pt idx="219">
                  <c:v>44287</c:v>
                </c:pt>
                <c:pt idx="220">
                  <c:v>44317</c:v>
                </c:pt>
                <c:pt idx="221">
                  <c:v>44348</c:v>
                </c:pt>
                <c:pt idx="222">
                  <c:v>44378</c:v>
                </c:pt>
                <c:pt idx="223">
                  <c:v>44409</c:v>
                </c:pt>
                <c:pt idx="224">
                  <c:v>44440</c:v>
                </c:pt>
                <c:pt idx="225">
                  <c:v>44470</c:v>
                </c:pt>
                <c:pt idx="226">
                  <c:v>44501</c:v>
                </c:pt>
                <c:pt idx="227">
                  <c:v>44531</c:v>
                </c:pt>
                <c:pt idx="228">
                  <c:v>44562</c:v>
                </c:pt>
                <c:pt idx="229">
                  <c:v>44593</c:v>
                </c:pt>
                <c:pt idx="230">
                  <c:v>44621</c:v>
                </c:pt>
                <c:pt idx="231">
                  <c:v>44652</c:v>
                </c:pt>
                <c:pt idx="232">
                  <c:v>44682</c:v>
                </c:pt>
                <c:pt idx="233">
                  <c:v>44713</c:v>
                </c:pt>
                <c:pt idx="234">
                  <c:v>44743</c:v>
                </c:pt>
                <c:pt idx="235">
                  <c:v>44774</c:v>
                </c:pt>
                <c:pt idx="236">
                  <c:v>44805</c:v>
                </c:pt>
                <c:pt idx="237">
                  <c:v>44835</c:v>
                </c:pt>
                <c:pt idx="238">
                  <c:v>44866</c:v>
                </c:pt>
                <c:pt idx="239">
                  <c:v>44896</c:v>
                </c:pt>
                <c:pt idx="240">
                  <c:v>44927</c:v>
                </c:pt>
              </c:numCache>
            </c:numRef>
          </c:cat>
          <c:val>
            <c:numRef>
              <c:f>Tabelle1!$E$4:$E$244</c:f>
              <c:numCache>
                <c:formatCode>General</c:formatCode>
                <c:ptCount val="241"/>
                <c:pt idx="0">
                  <c:v>4.2679999999999998</c:v>
                </c:pt>
                <c:pt idx="1">
                  <c:v>4.1210000000000004</c:v>
                </c:pt>
                <c:pt idx="2">
                  <c:v>3.9049999999999998</c:v>
                </c:pt>
                <c:pt idx="3">
                  <c:v>4.0449999999999999</c:v>
                </c:pt>
                <c:pt idx="4">
                  <c:v>4.0410000000000004</c:v>
                </c:pt>
                <c:pt idx="5">
                  <c:v>3.8620000000000001</c:v>
                </c:pt>
                <c:pt idx="6">
                  <c:v>3.9009999999999998</c:v>
                </c:pt>
                <c:pt idx="7">
                  <c:v>4.2480000000000002</c:v>
                </c:pt>
                <c:pt idx="8">
                  <c:v>4.274</c:v>
                </c:pt>
                <c:pt idx="9">
                  <c:v>4.05</c:v>
                </c:pt>
                <c:pt idx="10">
                  <c:v>4.4260000000000002</c:v>
                </c:pt>
                <c:pt idx="11">
                  <c:v>4.53</c:v>
                </c:pt>
                <c:pt idx="12">
                  <c:v>4.3609999999999998</c:v>
                </c:pt>
                <c:pt idx="13">
                  <c:v>4.3179999999999996</c:v>
                </c:pt>
                <c:pt idx="14">
                  <c:v>4.2549999999999999</c:v>
                </c:pt>
                <c:pt idx="15">
                  <c:v>4.0759999999999996</c:v>
                </c:pt>
                <c:pt idx="16">
                  <c:v>4.258</c:v>
                </c:pt>
                <c:pt idx="17">
                  <c:v>4.4249999999999998</c:v>
                </c:pt>
                <c:pt idx="18">
                  <c:v>4.3840000000000003</c:v>
                </c:pt>
                <c:pt idx="19">
                  <c:v>4.2539999999999996</c:v>
                </c:pt>
                <c:pt idx="20">
                  <c:v>4.0940000000000003</c:v>
                </c:pt>
                <c:pt idx="21">
                  <c:v>4.0720000000000001</c:v>
                </c:pt>
                <c:pt idx="22">
                  <c:v>3.9159999999999999</c:v>
                </c:pt>
                <c:pt idx="23">
                  <c:v>3.762</c:v>
                </c:pt>
                <c:pt idx="24">
                  <c:v>3.6389999999999998</c:v>
                </c:pt>
                <c:pt idx="25">
                  <c:v>3.516</c:v>
                </c:pt>
                <c:pt idx="26">
                  <c:v>3.7109999999999999</c:v>
                </c:pt>
                <c:pt idx="27">
                  <c:v>3.6030000000000002</c:v>
                </c:pt>
                <c:pt idx="28">
                  <c:v>3.488</c:v>
                </c:pt>
                <c:pt idx="29">
                  <c:v>3.266</c:v>
                </c:pt>
                <c:pt idx="30">
                  <c:v>3.1859999999999999</c:v>
                </c:pt>
                <c:pt idx="31">
                  <c:v>3.3340000000000001</c:v>
                </c:pt>
                <c:pt idx="32">
                  <c:v>3.09</c:v>
                </c:pt>
                <c:pt idx="33">
                  <c:v>3.157</c:v>
                </c:pt>
                <c:pt idx="34">
                  <c:v>3.4209999999999998</c:v>
                </c:pt>
                <c:pt idx="35">
                  <c:v>3.3980000000000001</c:v>
                </c:pt>
                <c:pt idx="36">
                  <c:v>3.34</c:v>
                </c:pt>
                <c:pt idx="37">
                  <c:v>3.5169999999999999</c:v>
                </c:pt>
                <c:pt idx="38">
                  <c:v>3.5030000000000001</c:v>
                </c:pt>
                <c:pt idx="39">
                  <c:v>3.8330000000000002</c:v>
                </c:pt>
                <c:pt idx="40">
                  <c:v>3.9990000000000001</c:v>
                </c:pt>
                <c:pt idx="41">
                  <c:v>4.0430000000000001</c:v>
                </c:pt>
                <c:pt idx="42">
                  <c:v>4.1210000000000004</c:v>
                </c:pt>
                <c:pt idx="43">
                  <c:v>3.96</c:v>
                </c:pt>
                <c:pt idx="44">
                  <c:v>3.7730000000000001</c:v>
                </c:pt>
                <c:pt idx="45">
                  <c:v>3.7210000000000001</c:v>
                </c:pt>
                <c:pt idx="46">
                  <c:v>3.778</c:v>
                </c:pt>
                <c:pt idx="47">
                  <c:v>3.6880000000000002</c:v>
                </c:pt>
                <c:pt idx="48">
                  <c:v>3.99</c:v>
                </c:pt>
                <c:pt idx="49">
                  <c:v>4.1269999999999998</c:v>
                </c:pt>
                <c:pt idx="50">
                  <c:v>4.01</c:v>
                </c:pt>
                <c:pt idx="51">
                  <c:v>4.0880000000000001</c:v>
                </c:pt>
                <c:pt idx="52">
                  <c:v>4.202</c:v>
                </c:pt>
                <c:pt idx="53">
                  <c:v>4.4390000000000001</c:v>
                </c:pt>
                <c:pt idx="54">
                  <c:v>4.4390000000000001</c:v>
                </c:pt>
                <c:pt idx="55">
                  <c:v>4.4390000000000001</c:v>
                </c:pt>
                <c:pt idx="56">
                  <c:v>4.4390000000000001</c:v>
                </c:pt>
                <c:pt idx="57">
                  <c:v>4.4349999999999996</c:v>
                </c:pt>
                <c:pt idx="58">
                  <c:v>4.3310000000000004</c:v>
                </c:pt>
                <c:pt idx="59">
                  <c:v>4.2240000000000002</c:v>
                </c:pt>
                <c:pt idx="60">
                  <c:v>4.4379999999999997</c:v>
                </c:pt>
                <c:pt idx="61">
                  <c:v>4.1289999999999996</c:v>
                </c:pt>
                <c:pt idx="62">
                  <c:v>4.0949999999999998</c:v>
                </c:pt>
                <c:pt idx="63">
                  <c:v>4.2699999999999996</c:v>
                </c:pt>
                <c:pt idx="64">
                  <c:v>4.4080000000000004</c:v>
                </c:pt>
                <c:pt idx="65">
                  <c:v>4.6079999999999997</c:v>
                </c:pt>
                <c:pt idx="66">
                  <c:v>4.88</c:v>
                </c:pt>
                <c:pt idx="67">
                  <c:v>4.6260000000000003</c:v>
                </c:pt>
                <c:pt idx="68">
                  <c:v>4.4210000000000003</c:v>
                </c:pt>
                <c:pt idx="69">
                  <c:v>4.431</c:v>
                </c:pt>
                <c:pt idx="70">
                  <c:v>4.5730000000000004</c:v>
                </c:pt>
                <c:pt idx="71">
                  <c:v>3.8460000000000001</c:v>
                </c:pt>
                <c:pt idx="72">
                  <c:v>3.871</c:v>
                </c:pt>
                <c:pt idx="73">
                  <c:v>4.2069999999999999</c:v>
                </c:pt>
                <c:pt idx="74">
                  <c:v>4.1500000000000004</c:v>
                </c:pt>
                <c:pt idx="75">
                  <c:v>4.0389999999999997</c:v>
                </c:pt>
                <c:pt idx="76">
                  <c:v>4.0369999999999999</c:v>
                </c:pt>
                <c:pt idx="77">
                  <c:v>4.3150000000000004</c:v>
                </c:pt>
                <c:pt idx="78">
                  <c:v>4.1509999999999998</c:v>
                </c:pt>
                <c:pt idx="79">
                  <c:v>3.8</c:v>
                </c:pt>
                <c:pt idx="80">
                  <c:v>3.774</c:v>
                </c:pt>
                <c:pt idx="81">
                  <c:v>3.677</c:v>
                </c:pt>
                <c:pt idx="82">
                  <c:v>3.573</c:v>
                </c:pt>
                <c:pt idx="83">
                  <c:v>3.5030000000000001</c:v>
                </c:pt>
                <c:pt idx="84">
                  <c:v>3.88</c:v>
                </c:pt>
                <c:pt idx="85">
                  <c:v>3.669</c:v>
                </c:pt>
                <c:pt idx="86">
                  <c:v>3.5590000000000002</c:v>
                </c:pt>
                <c:pt idx="87">
                  <c:v>3.4630000000000001</c:v>
                </c:pt>
                <c:pt idx="88">
                  <c:v>3.43</c:v>
                </c:pt>
                <c:pt idx="89">
                  <c:v>3.08</c:v>
                </c:pt>
                <c:pt idx="90">
                  <c:v>3.1629999999999998</c:v>
                </c:pt>
                <c:pt idx="91">
                  <c:v>3.12</c:v>
                </c:pt>
                <c:pt idx="92">
                  <c:v>2.6520000000000001</c:v>
                </c:pt>
                <c:pt idx="93">
                  <c:v>2.8250000000000002</c:v>
                </c:pt>
                <c:pt idx="94">
                  <c:v>2.903</c:v>
                </c:pt>
                <c:pt idx="95">
                  <c:v>3.294</c:v>
                </c:pt>
                <c:pt idx="96">
                  <c:v>3.4510000000000001</c:v>
                </c:pt>
                <c:pt idx="97">
                  <c:v>3.625</c:v>
                </c:pt>
                <c:pt idx="98">
                  <c:v>3.6080000000000001</c:v>
                </c:pt>
                <c:pt idx="99">
                  <c:v>3.8220000000000001</c:v>
                </c:pt>
                <c:pt idx="100">
                  <c:v>3.625</c:v>
                </c:pt>
                <c:pt idx="101">
                  <c:v>3.3940000000000001</c:v>
                </c:pt>
                <c:pt idx="102">
                  <c:v>3.4830000000000001</c:v>
                </c:pt>
                <c:pt idx="103">
                  <c:v>3.0529999999999999</c:v>
                </c:pt>
                <c:pt idx="104">
                  <c:v>2.8340000000000001</c:v>
                </c:pt>
                <c:pt idx="105">
                  <c:v>2.6349999999999998</c:v>
                </c:pt>
                <c:pt idx="106">
                  <c:v>2.8069999999999999</c:v>
                </c:pt>
                <c:pt idx="107">
                  <c:v>3.26</c:v>
                </c:pt>
                <c:pt idx="108">
                  <c:v>3.194</c:v>
                </c:pt>
                <c:pt idx="109">
                  <c:v>3.077</c:v>
                </c:pt>
                <c:pt idx="110">
                  <c:v>2.863</c:v>
                </c:pt>
                <c:pt idx="111">
                  <c:v>2.7749999999999999</c:v>
                </c:pt>
                <c:pt idx="112">
                  <c:v>2.669</c:v>
                </c:pt>
                <c:pt idx="113">
                  <c:v>1.931</c:v>
                </c:pt>
                <c:pt idx="114">
                  <c:v>2.3570000000000002</c:v>
                </c:pt>
                <c:pt idx="115">
                  <c:v>1.917</c:v>
                </c:pt>
                <c:pt idx="116">
                  <c:v>1.9730000000000001</c:v>
                </c:pt>
                <c:pt idx="117">
                  <c:v>1.9570000000000001</c:v>
                </c:pt>
                <c:pt idx="118">
                  <c:v>1.9670000000000001</c:v>
                </c:pt>
                <c:pt idx="119">
                  <c:v>1.772</c:v>
                </c:pt>
                <c:pt idx="120">
                  <c:v>1.754</c:v>
                </c:pt>
                <c:pt idx="121">
                  <c:v>1.9610000000000001</c:v>
                </c:pt>
                <c:pt idx="122">
                  <c:v>1.78</c:v>
                </c:pt>
                <c:pt idx="123">
                  <c:v>1.694</c:v>
                </c:pt>
                <c:pt idx="124">
                  <c:v>1.619</c:v>
                </c:pt>
                <c:pt idx="125">
                  <c:v>1.9259999999999999</c:v>
                </c:pt>
                <c:pt idx="126">
                  <c:v>2.1669999999999998</c:v>
                </c:pt>
                <c:pt idx="127">
                  <c:v>2.085</c:v>
                </c:pt>
                <c:pt idx="128">
                  <c:v>2.3410000000000002</c:v>
                </c:pt>
                <c:pt idx="129">
                  <c:v>2.2130000000000001</c:v>
                </c:pt>
                <c:pt idx="130">
                  <c:v>2.0489999999999999</c:v>
                </c:pt>
                <c:pt idx="131">
                  <c:v>2.0750000000000002</c:v>
                </c:pt>
                <c:pt idx="132">
                  <c:v>2.2789999999999999</c:v>
                </c:pt>
                <c:pt idx="133">
                  <c:v>1.9059999999999999</c:v>
                </c:pt>
                <c:pt idx="134">
                  <c:v>1.865</c:v>
                </c:pt>
                <c:pt idx="135">
                  <c:v>1.84</c:v>
                </c:pt>
                <c:pt idx="136">
                  <c:v>1.7230000000000001</c:v>
                </c:pt>
                <c:pt idx="137">
                  <c:v>1.552</c:v>
                </c:pt>
                <c:pt idx="138">
                  <c:v>1.5629999999999999</c:v>
                </c:pt>
                <c:pt idx="139">
                  <c:v>1.405</c:v>
                </c:pt>
                <c:pt idx="140">
                  <c:v>1.137</c:v>
                </c:pt>
                <c:pt idx="141">
                  <c:v>1.1080000000000001</c:v>
                </c:pt>
                <c:pt idx="142">
                  <c:v>1.048</c:v>
                </c:pt>
                <c:pt idx="143">
                  <c:v>0.86299999999999999</c:v>
                </c:pt>
                <c:pt idx="144">
                  <c:v>0.71099999999999997</c:v>
                </c:pt>
                <c:pt idx="145">
                  <c:v>0.38900000000000001</c:v>
                </c:pt>
                <c:pt idx="146">
                  <c:v>0.41699999999999998</c:v>
                </c:pt>
                <c:pt idx="147">
                  <c:v>0.29099999999999998</c:v>
                </c:pt>
                <c:pt idx="148">
                  <c:v>0.46899999999999997</c:v>
                </c:pt>
                <c:pt idx="149">
                  <c:v>0.64400000000000002</c:v>
                </c:pt>
                <c:pt idx="150">
                  <c:v>1.2030000000000001</c:v>
                </c:pt>
                <c:pt idx="151">
                  <c:v>0.90800000000000003</c:v>
                </c:pt>
                <c:pt idx="152">
                  <c:v>1.109</c:v>
                </c:pt>
                <c:pt idx="153">
                  <c:v>0.84899999999999998</c:v>
                </c:pt>
                <c:pt idx="154">
                  <c:v>0.85599999999999998</c:v>
                </c:pt>
                <c:pt idx="155">
                  <c:v>0.73599999999999999</c:v>
                </c:pt>
                <c:pt idx="156">
                  <c:v>0.89100000000000001</c:v>
                </c:pt>
                <c:pt idx="157">
                  <c:v>0.59799999999999998</c:v>
                </c:pt>
                <c:pt idx="158">
                  <c:v>0.45</c:v>
                </c:pt>
                <c:pt idx="159">
                  <c:v>0.34300000000000003</c:v>
                </c:pt>
                <c:pt idx="160">
                  <c:v>0.48599999999999999</c:v>
                </c:pt>
                <c:pt idx="161">
                  <c:v>0.316</c:v>
                </c:pt>
                <c:pt idx="162">
                  <c:v>0.19900000000000001</c:v>
                </c:pt>
                <c:pt idx="163">
                  <c:v>6.0999999999999999E-2</c:v>
                </c:pt>
                <c:pt idx="164">
                  <c:v>0.157</c:v>
                </c:pt>
                <c:pt idx="165">
                  <c:v>0.123</c:v>
                </c:pt>
                <c:pt idx="166">
                  <c:v>0.35599999999999998</c:v>
                </c:pt>
                <c:pt idx="167">
                  <c:v>0.58699999999999997</c:v>
                </c:pt>
                <c:pt idx="168">
                  <c:v>0.41399999999999998</c:v>
                </c:pt>
                <c:pt idx="169">
                  <c:v>0.73599999999999999</c:v>
                </c:pt>
                <c:pt idx="170">
                  <c:v>0.501</c:v>
                </c:pt>
                <c:pt idx="171">
                  <c:v>0.51200000000000001</c:v>
                </c:pt>
                <c:pt idx="172">
                  <c:v>0.60799999999999998</c:v>
                </c:pt>
                <c:pt idx="173">
                  <c:v>0.59599999999999997</c:v>
                </c:pt>
                <c:pt idx="174">
                  <c:v>0.72</c:v>
                </c:pt>
                <c:pt idx="175">
                  <c:v>0.67700000000000005</c:v>
                </c:pt>
                <c:pt idx="176">
                  <c:v>0.61099999999999999</c:v>
                </c:pt>
                <c:pt idx="177">
                  <c:v>0.61299999999999999</c:v>
                </c:pt>
                <c:pt idx="178">
                  <c:v>0.55200000000000005</c:v>
                </c:pt>
                <c:pt idx="179">
                  <c:v>0.48799999999999999</c:v>
                </c:pt>
                <c:pt idx="180">
                  <c:v>0.58299999999999996</c:v>
                </c:pt>
                <c:pt idx="181">
                  <c:v>0.80300000000000005</c:v>
                </c:pt>
                <c:pt idx="182">
                  <c:v>0.88200000000000001</c:v>
                </c:pt>
                <c:pt idx="183">
                  <c:v>0.69699999999999995</c:v>
                </c:pt>
                <c:pt idx="184">
                  <c:v>0.75600000000000001</c:v>
                </c:pt>
                <c:pt idx="185">
                  <c:v>0.70499999999999996</c:v>
                </c:pt>
                <c:pt idx="186">
                  <c:v>0.57499999999999996</c:v>
                </c:pt>
                <c:pt idx="187">
                  <c:v>0.70899999999999996</c:v>
                </c:pt>
                <c:pt idx="188">
                  <c:v>0.58599999999999997</c:v>
                </c:pt>
                <c:pt idx="189">
                  <c:v>0.70399999999999996</c:v>
                </c:pt>
                <c:pt idx="190">
                  <c:v>0.61099999999999999</c:v>
                </c:pt>
                <c:pt idx="191">
                  <c:v>0.55700000000000005</c:v>
                </c:pt>
                <c:pt idx="192">
                  <c:v>0.498</c:v>
                </c:pt>
                <c:pt idx="193">
                  <c:v>0.38400000000000001</c:v>
                </c:pt>
                <c:pt idx="194">
                  <c:v>0.53300000000000003</c:v>
                </c:pt>
                <c:pt idx="195">
                  <c:v>0.28799999999999998</c:v>
                </c:pt>
                <c:pt idx="196">
                  <c:v>0.307</c:v>
                </c:pt>
                <c:pt idx="197">
                  <c:v>0.124</c:v>
                </c:pt>
                <c:pt idx="198">
                  <c:v>-8.5000000000000006E-2</c:v>
                </c:pt>
                <c:pt idx="199">
                  <c:v>-0.23100000000000001</c:v>
                </c:pt>
                <c:pt idx="200">
                  <c:v>-0.438</c:v>
                </c:pt>
                <c:pt idx="201">
                  <c:v>-0.30099999999999999</c:v>
                </c:pt>
                <c:pt idx="202">
                  <c:v>-0.13400000000000001</c:v>
                </c:pt>
                <c:pt idx="203">
                  <c:v>-4.9000000000000002E-2</c:v>
                </c:pt>
                <c:pt idx="204">
                  <c:v>3.5999999999999997E-2</c:v>
                </c:pt>
                <c:pt idx="205">
                  <c:v>-0.25800000000000001</c:v>
                </c:pt>
                <c:pt idx="206">
                  <c:v>-0.36799999999999999</c:v>
                </c:pt>
                <c:pt idx="207">
                  <c:v>3.5999999999999997E-2</c:v>
                </c:pt>
                <c:pt idx="208">
                  <c:v>-0.153</c:v>
                </c:pt>
                <c:pt idx="209">
                  <c:v>-6.9000000000000006E-2</c:v>
                </c:pt>
                <c:pt idx="210">
                  <c:v>-0.153</c:v>
                </c:pt>
                <c:pt idx="211">
                  <c:v>-0.29699999999999999</c:v>
                </c:pt>
                <c:pt idx="212">
                  <c:v>-0.22900000000000001</c:v>
                </c:pt>
                <c:pt idx="213">
                  <c:v>-0.35</c:v>
                </c:pt>
                <c:pt idx="214">
                  <c:v>-0.45</c:v>
                </c:pt>
                <c:pt idx="215">
                  <c:v>-0.36099999999999999</c:v>
                </c:pt>
                <c:pt idx="216">
                  <c:v>-0.42699999999999999</c:v>
                </c:pt>
                <c:pt idx="217">
                  <c:v>-0.378</c:v>
                </c:pt>
                <c:pt idx="218">
                  <c:v>-0.126</c:v>
                </c:pt>
                <c:pt idx="219">
                  <c:v>-0.10199999999999999</c:v>
                </c:pt>
                <c:pt idx="220">
                  <c:v>2.9000000000000001E-2</c:v>
                </c:pt>
                <c:pt idx="221">
                  <c:v>6.3E-2</c:v>
                </c:pt>
                <c:pt idx="222">
                  <c:v>8.9999999999999993E-3</c:v>
                </c:pt>
                <c:pt idx="223">
                  <c:v>-0.249</c:v>
                </c:pt>
                <c:pt idx="224">
                  <c:v>-0.14299999999999999</c:v>
                </c:pt>
                <c:pt idx="225">
                  <c:v>7.0000000000000001E-3</c:v>
                </c:pt>
                <c:pt idx="226">
                  <c:v>0.15</c:v>
                </c:pt>
                <c:pt idx="227">
                  <c:v>-6.7000000000000004E-2</c:v>
                </c:pt>
                <c:pt idx="228">
                  <c:v>0.14699999999999999</c:v>
                </c:pt>
                <c:pt idx="229">
                  <c:v>0.28000000000000003</c:v>
                </c:pt>
                <c:pt idx="230">
                  <c:v>0.311</c:v>
                </c:pt>
                <c:pt idx="231">
                  <c:v>1.0429999999999999</c:v>
                </c:pt>
                <c:pt idx="232">
                  <c:v>1.4670000000000001</c:v>
                </c:pt>
                <c:pt idx="233">
                  <c:v>1.7430000000000001</c:v>
                </c:pt>
                <c:pt idx="234">
                  <c:v>1.8220000000000001</c:v>
                </c:pt>
                <c:pt idx="235">
                  <c:v>1.2989999999999999</c:v>
                </c:pt>
                <c:pt idx="236">
                  <c:v>2.202</c:v>
                </c:pt>
                <c:pt idx="237">
                  <c:v>2.6110000000000002</c:v>
                </c:pt>
                <c:pt idx="238">
                  <c:v>2.823</c:v>
                </c:pt>
                <c:pt idx="239">
                  <c:v>2.423</c:v>
                </c:pt>
                <c:pt idx="240">
                  <c:v>3.085</c:v>
                </c:pt>
              </c:numCache>
            </c:numRef>
          </c:val>
          <c:smooth val="0"/>
          <c:extLst>
            <c:ext xmlns:c16="http://schemas.microsoft.com/office/drawing/2014/chart" uri="{C3380CC4-5D6E-409C-BE32-E72D297353CC}">
              <c16:uniqueId val="{00000000-B5C6-419D-B2D0-DE6E1B0C268E}"/>
            </c:ext>
          </c:extLst>
        </c:ser>
        <c:ser>
          <c:idx val="1"/>
          <c:order val="1"/>
          <c:tx>
            <c:v>Hypothekarzinsen fix (&gt;10J, %)</c:v>
          </c:tx>
          <c:spPr>
            <a:ln w="57150" cap="rnd">
              <a:solidFill>
                <a:schemeClr val="accent2"/>
              </a:solidFill>
              <a:round/>
            </a:ln>
            <a:effectLst/>
          </c:spPr>
          <c:marker>
            <c:symbol val="none"/>
          </c:marker>
          <c:cat>
            <c:numRef>
              <c:f>Tabelle1!$D$4:$D$244</c:f>
              <c:numCache>
                <c:formatCode>m/d/yyyy</c:formatCode>
                <c:ptCount val="241"/>
                <c:pt idx="0">
                  <c:v>37622</c:v>
                </c:pt>
                <c:pt idx="1">
                  <c:v>37653</c:v>
                </c:pt>
                <c:pt idx="2">
                  <c:v>37681</c:v>
                </c:pt>
                <c:pt idx="3">
                  <c:v>37712</c:v>
                </c:pt>
                <c:pt idx="4">
                  <c:v>37742</c:v>
                </c:pt>
                <c:pt idx="5">
                  <c:v>37773</c:v>
                </c:pt>
                <c:pt idx="6">
                  <c:v>37803</c:v>
                </c:pt>
                <c:pt idx="7">
                  <c:v>37834</c:v>
                </c:pt>
                <c:pt idx="8">
                  <c:v>37865</c:v>
                </c:pt>
                <c:pt idx="9">
                  <c:v>37895</c:v>
                </c:pt>
                <c:pt idx="10">
                  <c:v>37926</c:v>
                </c:pt>
                <c:pt idx="11">
                  <c:v>37956</c:v>
                </c:pt>
                <c:pt idx="12">
                  <c:v>37987</c:v>
                </c:pt>
                <c:pt idx="13">
                  <c:v>38018</c:v>
                </c:pt>
                <c:pt idx="14">
                  <c:v>38047</c:v>
                </c:pt>
                <c:pt idx="15">
                  <c:v>38078</c:v>
                </c:pt>
                <c:pt idx="16">
                  <c:v>38108</c:v>
                </c:pt>
                <c:pt idx="17">
                  <c:v>38139</c:v>
                </c:pt>
                <c:pt idx="18">
                  <c:v>38169</c:v>
                </c:pt>
                <c:pt idx="19">
                  <c:v>38200</c:v>
                </c:pt>
                <c:pt idx="20">
                  <c:v>38231</c:v>
                </c:pt>
                <c:pt idx="21">
                  <c:v>38261</c:v>
                </c:pt>
                <c:pt idx="22">
                  <c:v>38292</c:v>
                </c:pt>
                <c:pt idx="23">
                  <c:v>38322</c:v>
                </c:pt>
                <c:pt idx="24">
                  <c:v>38353</c:v>
                </c:pt>
                <c:pt idx="25">
                  <c:v>38384</c:v>
                </c:pt>
                <c:pt idx="26">
                  <c:v>38412</c:v>
                </c:pt>
                <c:pt idx="27">
                  <c:v>38443</c:v>
                </c:pt>
                <c:pt idx="28">
                  <c:v>38473</c:v>
                </c:pt>
                <c:pt idx="29">
                  <c:v>38504</c:v>
                </c:pt>
                <c:pt idx="30">
                  <c:v>38534</c:v>
                </c:pt>
                <c:pt idx="31">
                  <c:v>38565</c:v>
                </c:pt>
                <c:pt idx="32">
                  <c:v>38596</c:v>
                </c:pt>
                <c:pt idx="33">
                  <c:v>38626</c:v>
                </c:pt>
                <c:pt idx="34">
                  <c:v>38657</c:v>
                </c:pt>
                <c:pt idx="35">
                  <c:v>38687</c:v>
                </c:pt>
                <c:pt idx="36">
                  <c:v>38718</c:v>
                </c:pt>
                <c:pt idx="37">
                  <c:v>38749</c:v>
                </c:pt>
                <c:pt idx="38">
                  <c:v>38777</c:v>
                </c:pt>
                <c:pt idx="39">
                  <c:v>38808</c:v>
                </c:pt>
                <c:pt idx="40">
                  <c:v>38838</c:v>
                </c:pt>
                <c:pt idx="41">
                  <c:v>38869</c:v>
                </c:pt>
                <c:pt idx="42">
                  <c:v>38899</c:v>
                </c:pt>
                <c:pt idx="43">
                  <c:v>38930</c:v>
                </c:pt>
                <c:pt idx="44">
                  <c:v>38961</c:v>
                </c:pt>
                <c:pt idx="45">
                  <c:v>38991</c:v>
                </c:pt>
                <c:pt idx="46">
                  <c:v>39022</c:v>
                </c:pt>
                <c:pt idx="47">
                  <c:v>39052</c:v>
                </c:pt>
                <c:pt idx="48">
                  <c:v>39083</c:v>
                </c:pt>
                <c:pt idx="49">
                  <c:v>39114</c:v>
                </c:pt>
                <c:pt idx="50">
                  <c:v>39142</c:v>
                </c:pt>
                <c:pt idx="51">
                  <c:v>39173</c:v>
                </c:pt>
                <c:pt idx="52">
                  <c:v>39203</c:v>
                </c:pt>
                <c:pt idx="53">
                  <c:v>39234</c:v>
                </c:pt>
                <c:pt idx="54">
                  <c:v>39264</c:v>
                </c:pt>
                <c:pt idx="55">
                  <c:v>39295</c:v>
                </c:pt>
                <c:pt idx="56">
                  <c:v>39326</c:v>
                </c:pt>
                <c:pt idx="57">
                  <c:v>39356</c:v>
                </c:pt>
                <c:pt idx="58">
                  <c:v>39387</c:v>
                </c:pt>
                <c:pt idx="59">
                  <c:v>39417</c:v>
                </c:pt>
                <c:pt idx="60">
                  <c:v>39448</c:v>
                </c:pt>
                <c:pt idx="61">
                  <c:v>39479</c:v>
                </c:pt>
                <c:pt idx="62">
                  <c:v>39508</c:v>
                </c:pt>
                <c:pt idx="63">
                  <c:v>39539</c:v>
                </c:pt>
                <c:pt idx="64">
                  <c:v>39569</c:v>
                </c:pt>
                <c:pt idx="65">
                  <c:v>39600</c:v>
                </c:pt>
                <c:pt idx="66">
                  <c:v>39630</c:v>
                </c:pt>
                <c:pt idx="67">
                  <c:v>39661</c:v>
                </c:pt>
                <c:pt idx="68">
                  <c:v>39692</c:v>
                </c:pt>
                <c:pt idx="69">
                  <c:v>39722</c:v>
                </c:pt>
                <c:pt idx="70">
                  <c:v>39753</c:v>
                </c:pt>
                <c:pt idx="71">
                  <c:v>39783</c:v>
                </c:pt>
                <c:pt idx="72">
                  <c:v>39814</c:v>
                </c:pt>
                <c:pt idx="73">
                  <c:v>39845</c:v>
                </c:pt>
                <c:pt idx="74">
                  <c:v>39873</c:v>
                </c:pt>
                <c:pt idx="75">
                  <c:v>39904</c:v>
                </c:pt>
                <c:pt idx="76">
                  <c:v>39934</c:v>
                </c:pt>
                <c:pt idx="77">
                  <c:v>39965</c:v>
                </c:pt>
                <c:pt idx="78">
                  <c:v>39995</c:v>
                </c:pt>
                <c:pt idx="79">
                  <c:v>40026</c:v>
                </c:pt>
                <c:pt idx="80">
                  <c:v>40057</c:v>
                </c:pt>
                <c:pt idx="81">
                  <c:v>40087</c:v>
                </c:pt>
                <c:pt idx="82">
                  <c:v>40118</c:v>
                </c:pt>
                <c:pt idx="83">
                  <c:v>40148</c:v>
                </c:pt>
                <c:pt idx="84">
                  <c:v>40179</c:v>
                </c:pt>
                <c:pt idx="85">
                  <c:v>40210</c:v>
                </c:pt>
                <c:pt idx="86">
                  <c:v>40238</c:v>
                </c:pt>
                <c:pt idx="87">
                  <c:v>40269</c:v>
                </c:pt>
                <c:pt idx="88">
                  <c:v>40299</c:v>
                </c:pt>
                <c:pt idx="89">
                  <c:v>40330</c:v>
                </c:pt>
                <c:pt idx="90">
                  <c:v>40360</c:v>
                </c:pt>
                <c:pt idx="91">
                  <c:v>40391</c:v>
                </c:pt>
                <c:pt idx="92">
                  <c:v>40422</c:v>
                </c:pt>
                <c:pt idx="93">
                  <c:v>40452</c:v>
                </c:pt>
                <c:pt idx="94">
                  <c:v>40483</c:v>
                </c:pt>
                <c:pt idx="95">
                  <c:v>40513</c:v>
                </c:pt>
                <c:pt idx="96">
                  <c:v>40544</c:v>
                </c:pt>
                <c:pt idx="97">
                  <c:v>40575</c:v>
                </c:pt>
                <c:pt idx="98">
                  <c:v>40603</c:v>
                </c:pt>
                <c:pt idx="99">
                  <c:v>40634</c:v>
                </c:pt>
                <c:pt idx="100">
                  <c:v>40664</c:v>
                </c:pt>
                <c:pt idx="101">
                  <c:v>40695</c:v>
                </c:pt>
                <c:pt idx="102">
                  <c:v>40725</c:v>
                </c:pt>
                <c:pt idx="103">
                  <c:v>40756</c:v>
                </c:pt>
                <c:pt idx="104">
                  <c:v>40787</c:v>
                </c:pt>
                <c:pt idx="105">
                  <c:v>40817</c:v>
                </c:pt>
                <c:pt idx="106">
                  <c:v>40848</c:v>
                </c:pt>
                <c:pt idx="107">
                  <c:v>40878</c:v>
                </c:pt>
                <c:pt idx="108">
                  <c:v>40909</c:v>
                </c:pt>
                <c:pt idx="109">
                  <c:v>40940</c:v>
                </c:pt>
                <c:pt idx="110">
                  <c:v>40969</c:v>
                </c:pt>
                <c:pt idx="111">
                  <c:v>41000</c:v>
                </c:pt>
                <c:pt idx="112">
                  <c:v>41030</c:v>
                </c:pt>
                <c:pt idx="113">
                  <c:v>41061</c:v>
                </c:pt>
                <c:pt idx="114">
                  <c:v>41091</c:v>
                </c:pt>
                <c:pt idx="115">
                  <c:v>41122</c:v>
                </c:pt>
                <c:pt idx="116">
                  <c:v>41153</c:v>
                </c:pt>
                <c:pt idx="117">
                  <c:v>41183</c:v>
                </c:pt>
                <c:pt idx="118">
                  <c:v>41214</c:v>
                </c:pt>
                <c:pt idx="119">
                  <c:v>41244</c:v>
                </c:pt>
                <c:pt idx="120">
                  <c:v>41275</c:v>
                </c:pt>
                <c:pt idx="121">
                  <c:v>41306</c:v>
                </c:pt>
                <c:pt idx="122">
                  <c:v>41334</c:v>
                </c:pt>
                <c:pt idx="123">
                  <c:v>41365</c:v>
                </c:pt>
                <c:pt idx="124">
                  <c:v>41395</c:v>
                </c:pt>
                <c:pt idx="125">
                  <c:v>41426</c:v>
                </c:pt>
                <c:pt idx="126">
                  <c:v>41456</c:v>
                </c:pt>
                <c:pt idx="127">
                  <c:v>41487</c:v>
                </c:pt>
                <c:pt idx="128">
                  <c:v>41518</c:v>
                </c:pt>
                <c:pt idx="129">
                  <c:v>41548</c:v>
                </c:pt>
                <c:pt idx="130">
                  <c:v>41579</c:v>
                </c:pt>
                <c:pt idx="131">
                  <c:v>41609</c:v>
                </c:pt>
                <c:pt idx="132">
                  <c:v>41640</c:v>
                </c:pt>
                <c:pt idx="133">
                  <c:v>41671</c:v>
                </c:pt>
                <c:pt idx="134">
                  <c:v>41699</c:v>
                </c:pt>
                <c:pt idx="135">
                  <c:v>41730</c:v>
                </c:pt>
                <c:pt idx="136">
                  <c:v>41760</c:v>
                </c:pt>
                <c:pt idx="137">
                  <c:v>41791</c:v>
                </c:pt>
                <c:pt idx="138">
                  <c:v>41821</c:v>
                </c:pt>
                <c:pt idx="139">
                  <c:v>41852</c:v>
                </c:pt>
                <c:pt idx="140">
                  <c:v>41883</c:v>
                </c:pt>
                <c:pt idx="141">
                  <c:v>41913</c:v>
                </c:pt>
                <c:pt idx="142">
                  <c:v>41944</c:v>
                </c:pt>
                <c:pt idx="143">
                  <c:v>41974</c:v>
                </c:pt>
                <c:pt idx="144">
                  <c:v>42005</c:v>
                </c:pt>
                <c:pt idx="145">
                  <c:v>42036</c:v>
                </c:pt>
                <c:pt idx="146">
                  <c:v>42064</c:v>
                </c:pt>
                <c:pt idx="147">
                  <c:v>42095</c:v>
                </c:pt>
                <c:pt idx="148">
                  <c:v>42125</c:v>
                </c:pt>
                <c:pt idx="149">
                  <c:v>42156</c:v>
                </c:pt>
                <c:pt idx="150">
                  <c:v>42186</c:v>
                </c:pt>
                <c:pt idx="151">
                  <c:v>42217</c:v>
                </c:pt>
                <c:pt idx="152">
                  <c:v>42248</c:v>
                </c:pt>
                <c:pt idx="153">
                  <c:v>42278</c:v>
                </c:pt>
                <c:pt idx="154">
                  <c:v>42309</c:v>
                </c:pt>
                <c:pt idx="155">
                  <c:v>42339</c:v>
                </c:pt>
                <c:pt idx="156">
                  <c:v>42370</c:v>
                </c:pt>
                <c:pt idx="157">
                  <c:v>42401</c:v>
                </c:pt>
                <c:pt idx="158">
                  <c:v>42430</c:v>
                </c:pt>
                <c:pt idx="159">
                  <c:v>42461</c:v>
                </c:pt>
                <c:pt idx="160">
                  <c:v>42491</c:v>
                </c:pt>
                <c:pt idx="161">
                  <c:v>42522</c:v>
                </c:pt>
                <c:pt idx="162">
                  <c:v>42552</c:v>
                </c:pt>
                <c:pt idx="163">
                  <c:v>42583</c:v>
                </c:pt>
                <c:pt idx="164">
                  <c:v>42614</c:v>
                </c:pt>
                <c:pt idx="165">
                  <c:v>42644</c:v>
                </c:pt>
                <c:pt idx="166">
                  <c:v>42675</c:v>
                </c:pt>
                <c:pt idx="167">
                  <c:v>42705</c:v>
                </c:pt>
                <c:pt idx="168">
                  <c:v>42736</c:v>
                </c:pt>
                <c:pt idx="169">
                  <c:v>42767</c:v>
                </c:pt>
                <c:pt idx="170">
                  <c:v>42795</c:v>
                </c:pt>
                <c:pt idx="171">
                  <c:v>42826</c:v>
                </c:pt>
                <c:pt idx="172">
                  <c:v>42856</c:v>
                </c:pt>
                <c:pt idx="173">
                  <c:v>42887</c:v>
                </c:pt>
                <c:pt idx="174">
                  <c:v>42917</c:v>
                </c:pt>
                <c:pt idx="175">
                  <c:v>42948</c:v>
                </c:pt>
                <c:pt idx="176">
                  <c:v>42979</c:v>
                </c:pt>
                <c:pt idx="177">
                  <c:v>43009</c:v>
                </c:pt>
                <c:pt idx="178">
                  <c:v>43040</c:v>
                </c:pt>
                <c:pt idx="179">
                  <c:v>43070</c:v>
                </c:pt>
                <c:pt idx="180">
                  <c:v>43101</c:v>
                </c:pt>
                <c:pt idx="181">
                  <c:v>43132</c:v>
                </c:pt>
                <c:pt idx="182">
                  <c:v>43160</c:v>
                </c:pt>
                <c:pt idx="183">
                  <c:v>43191</c:v>
                </c:pt>
                <c:pt idx="184">
                  <c:v>43221</c:v>
                </c:pt>
                <c:pt idx="185">
                  <c:v>43252</c:v>
                </c:pt>
                <c:pt idx="186">
                  <c:v>43282</c:v>
                </c:pt>
                <c:pt idx="187">
                  <c:v>43313</c:v>
                </c:pt>
                <c:pt idx="188">
                  <c:v>43344</c:v>
                </c:pt>
                <c:pt idx="189">
                  <c:v>43374</c:v>
                </c:pt>
                <c:pt idx="190">
                  <c:v>43405</c:v>
                </c:pt>
                <c:pt idx="191">
                  <c:v>43435</c:v>
                </c:pt>
                <c:pt idx="192">
                  <c:v>43466</c:v>
                </c:pt>
                <c:pt idx="193">
                  <c:v>43497</c:v>
                </c:pt>
                <c:pt idx="194">
                  <c:v>43525</c:v>
                </c:pt>
                <c:pt idx="195">
                  <c:v>43556</c:v>
                </c:pt>
                <c:pt idx="196">
                  <c:v>43586</c:v>
                </c:pt>
                <c:pt idx="197">
                  <c:v>43617</c:v>
                </c:pt>
                <c:pt idx="198">
                  <c:v>43647</c:v>
                </c:pt>
                <c:pt idx="199">
                  <c:v>43678</c:v>
                </c:pt>
                <c:pt idx="200">
                  <c:v>43709</c:v>
                </c:pt>
                <c:pt idx="201">
                  <c:v>43739</c:v>
                </c:pt>
                <c:pt idx="202">
                  <c:v>43770</c:v>
                </c:pt>
                <c:pt idx="203">
                  <c:v>43800</c:v>
                </c:pt>
                <c:pt idx="204">
                  <c:v>43831</c:v>
                </c:pt>
                <c:pt idx="205">
                  <c:v>43862</c:v>
                </c:pt>
                <c:pt idx="206">
                  <c:v>43891</c:v>
                </c:pt>
                <c:pt idx="207">
                  <c:v>43922</c:v>
                </c:pt>
                <c:pt idx="208">
                  <c:v>43952</c:v>
                </c:pt>
                <c:pt idx="209">
                  <c:v>43983</c:v>
                </c:pt>
                <c:pt idx="210">
                  <c:v>44013</c:v>
                </c:pt>
                <c:pt idx="211">
                  <c:v>44044</c:v>
                </c:pt>
                <c:pt idx="212">
                  <c:v>44075</c:v>
                </c:pt>
                <c:pt idx="213">
                  <c:v>44105</c:v>
                </c:pt>
                <c:pt idx="214">
                  <c:v>44136</c:v>
                </c:pt>
                <c:pt idx="215">
                  <c:v>44166</c:v>
                </c:pt>
                <c:pt idx="216">
                  <c:v>44197</c:v>
                </c:pt>
                <c:pt idx="217">
                  <c:v>44228</c:v>
                </c:pt>
                <c:pt idx="218">
                  <c:v>44256</c:v>
                </c:pt>
                <c:pt idx="219">
                  <c:v>44287</c:v>
                </c:pt>
                <c:pt idx="220">
                  <c:v>44317</c:v>
                </c:pt>
                <c:pt idx="221">
                  <c:v>44348</c:v>
                </c:pt>
                <c:pt idx="222">
                  <c:v>44378</c:v>
                </c:pt>
                <c:pt idx="223">
                  <c:v>44409</c:v>
                </c:pt>
                <c:pt idx="224">
                  <c:v>44440</c:v>
                </c:pt>
                <c:pt idx="225">
                  <c:v>44470</c:v>
                </c:pt>
                <c:pt idx="226">
                  <c:v>44501</c:v>
                </c:pt>
                <c:pt idx="227">
                  <c:v>44531</c:v>
                </c:pt>
                <c:pt idx="228">
                  <c:v>44562</c:v>
                </c:pt>
                <c:pt idx="229">
                  <c:v>44593</c:v>
                </c:pt>
                <c:pt idx="230">
                  <c:v>44621</c:v>
                </c:pt>
                <c:pt idx="231">
                  <c:v>44652</c:v>
                </c:pt>
                <c:pt idx="232">
                  <c:v>44682</c:v>
                </c:pt>
                <c:pt idx="233">
                  <c:v>44713</c:v>
                </c:pt>
                <c:pt idx="234">
                  <c:v>44743</c:v>
                </c:pt>
                <c:pt idx="235">
                  <c:v>44774</c:v>
                </c:pt>
                <c:pt idx="236">
                  <c:v>44805</c:v>
                </c:pt>
                <c:pt idx="237">
                  <c:v>44835</c:v>
                </c:pt>
                <c:pt idx="238">
                  <c:v>44866</c:v>
                </c:pt>
                <c:pt idx="239">
                  <c:v>44896</c:v>
                </c:pt>
                <c:pt idx="240">
                  <c:v>44927</c:v>
                </c:pt>
              </c:numCache>
            </c:numRef>
          </c:cat>
          <c:val>
            <c:numRef>
              <c:f>Tabelle1!$F$4:$F$244</c:f>
              <c:numCache>
                <c:formatCode>General</c:formatCode>
                <c:ptCount val="241"/>
                <c:pt idx="0">
                  <c:v>5.0999999999999996</c:v>
                </c:pt>
                <c:pt idx="1">
                  <c:v>5.04</c:v>
                </c:pt>
                <c:pt idx="2">
                  <c:v>5.0599999999999996</c:v>
                </c:pt>
                <c:pt idx="3">
                  <c:v>4.84</c:v>
                </c:pt>
                <c:pt idx="4">
                  <c:v>4.8</c:v>
                </c:pt>
                <c:pt idx="5">
                  <c:v>4.82</c:v>
                </c:pt>
                <c:pt idx="6">
                  <c:v>4.4400000000000004</c:v>
                </c:pt>
                <c:pt idx="7">
                  <c:v>4.8</c:v>
                </c:pt>
                <c:pt idx="8">
                  <c:v>4.51</c:v>
                </c:pt>
                <c:pt idx="9">
                  <c:v>4.3499999999999996</c:v>
                </c:pt>
                <c:pt idx="10">
                  <c:v>4.95</c:v>
                </c:pt>
                <c:pt idx="11">
                  <c:v>5.14</c:v>
                </c:pt>
                <c:pt idx="12">
                  <c:v>4.6900000000000004</c:v>
                </c:pt>
                <c:pt idx="13">
                  <c:v>4.8</c:v>
                </c:pt>
                <c:pt idx="14">
                  <c:v>4.32</c:v>
                </c:pt>
                <c:pt idx="15">
                  <c:v>4.3099999999999996</c:v>
                </c:pt>
                <c:pt idx="16">
                  <c:v>4.26</c:v>
                </c:pt>
                <c:pt idx="17">
                  <c:v>5.23</c:v>
                </c:pt>
                <c:pt idx="18">
                  <c:v>4.84</c:v>
                </c:pt>
                <c:pt idx="19">
                  <c:v>5.51</c:v>
                </c:pt>
                <c:pt idx="20">
                  <c:v>4.99</c:v>
                </c:pt>
                <c:pt idx="21">
                  <c:v>4.83</c:v>
                </c:pt>
                <c:pt idx="22">
                  <c:v>5.0199999999999996</c:v>
                </c:pt>
                <c:pt idx="23">
                  <c:v>4.8499999999999996</c:v>
                </c:pt>
                <c:pt idx="24">
                  <c:v>5.05</c:v>
                </c:pt>
                <c:pt idx="25">
                  <c:v>6.07</c:v>
                </c:pt>
                <c:pt idx="26">
                  <c:v>5.55</c:v>
                </c:pt>
                <c:pt idx="27">
                  <c:v>4.83</c:v>
                </c:pt>
                <c:pt idx="28">
                  <c:v>4.8099999999999996</c:v>
                </c:pt>
                <c:pt idx="29">
                  <c:v>4.95</c:v>
                </c:pt>
                <c:pt idx="30">
                  <c:v>4.55</c:v>
                </c:pt>
                <c:pt idx="31">
                  <c:v>5.33</c:v>
                </c:pt>
                <c:pt idx="32">
                  <c:v>5.34</c:v>
                </c:pt>
                <c:pt idx="33">
                  <c:v>4.57</c:v>
                </c:pt>
                <c:pt idx="34">
                  <c:v>5.33</c:v>
                </c:pt>
                <c:pt idx="35">
                  <c:v>4.74</c:v>
                </c:pt>
                <c:pt idx="36">
                  <c:v>4.6100000000000003</c:v>
                </c:pt>
                <c:pt idx="37">
                  <c:v>4.6500000000000004</c:v>
                </c:pt>
                <c:pt idx="38">
                  <c:v>4.7699999999999996</c:v>
                </c:pt>
                <c:pt idx="39">
                  <c:v>4.5</c:v>
                </c:pt>
                <c:pt idx="40">
                  <c:v>4.8099999999999996</c:v>
                </c:pt>
                <c:pt idx="41">
                  <c:v>4.6900000000000004</c:v>
                </c:pt>
                <c:pt idx="42">
                  <c:v>4.41</c:v>
                </c:pt>
                <c:pt idx="43">
                  <c:v>5.14</c:v>
                </c:pt>
                <c:pt idx="44">
                  <c:v>5.6</c:v>
                </c:pt>
                <c:pt idx="45">
                  <c:v>4.58</c:v>
                </c:pt>
                <c:pt idx="46">
                  <c:v>4.38</c:v>
                </c:pt>
                <c:pt idx="47">
                  <c:v>5</c:v>
                </c:pt>
                <c:pt idx="48">
                  <c:v>5.0199999999999996</c:v>
                </c:pt>
                <c:pt idx="49">
                  <c:v>5.05</c:v>
                </c:pt>
                <c:pt idx="50">
                  <c:v>5.17</c:v>
                </c:pt>
                <c:pt idx="51">
                  <c:v>5.04</c:v>
                </c:pt>
                <c:pt idx="52">
                  <c:v>5.39</c:v>
                </c:pt>
                <c:pt idx="53">
                  <c:v>5.31</c:v>
                </c:pt>
                <c:pt idx="54">
                  <c:v>5.51</c:v>
                </c:pt>
                <c:pt idx="55">
                  <c:v>5.41</c:v>
                </c:pt>
                <c:pt idx="56">
                  <c:v>5.33</c:v>
                </c:pt>
                <c:pt idx="57">
                  <c:v>5.67</c:v>
                </c:pt>
                <c:pt idx="58">
                  <c:v>5.61</c:v>
                </c:pt>
                <c:pt idx="59">
                  <c:v>5.33</c:v>
                </c:pt>
                <c:pt idx="60">
                  <c:v>5.56</c:v>
                </c:pt>
                <c:pt idx="61">
                  <c:v>5.45</c:v>
                </c:pt>
                <c:pt idx="62">
                  <c:v>5.45</c:v>
                </c:pt>
                <c:pt idx="63">
                  <c:v>5.5</c:v>
                </c:pt>
                <c:pt idx="64">
                  <c:v>5.63</c:v>
                </c:pt>
                <c:pt idx="65">
                  <c:v>5.64</c:v>
                </c:pt>
                <c:pt idx="66">
                  <c:v>5.79</c:v>
                </c:pt>
                <c:pt idx="67">
                  <c:v>5.47</c:v>
                </c:pt>
                <c:pt idx="68">
                  <c:v>5.73</c:v>
                </c:pt>
                <c:pt idx="69">
                  <c:v>5.82</c:v>
                </c:pt>
                <c:pt idx="70">
                  <c:v>5.75</c:v>
                </c:pt>
                <c:pt idx="71">
                  <c:v>5.72</c:v>
                </c:pt>
                <c:pt idx="72">
                  <c:v>5.3</c:v>
                </c:pt>
                <c:pt idx="73">
                  <c:v>5.56</c:v>
                </c:pt>
                <c:pt idx="74">
                  <c:v>5.12</c:v>
                </c:pt>
                <c:pt idx="75">
                  <c:v>5.25</c:v>
                </c:pt>
                <c:pt idx="76">
                  <c:v>5.12</c:v>
                </c:pt>
                <c:pt idx="77">
                  <c:v>5.6</c:v>
                </c:pt>
                <c:pt idx="78">
                  <c:v>5.24</c:v>
                </c:pt>
                <c:pt idx="79">
                  <c:v>5.05</c:v>
                </c:pt>
                <c:pt idx="80">
                  <c:v>5.22</c:v>
                </c:pt>
                <c:pt idx="81">
                  <c:v>5.2</c:v>
                </c:pt>
                <c:pt idx="82">
                  <c:v>5.26</c:v>
                </c:pt>
                <c:pt idx="83">
                  <c:v>5.14</c:v>
                </c:pt>
                <c:pt idx="84">
                  <c:v>4.1900000000000004</c:v>
                </c:pt>
                <c:pt idx="85">
                  <c:v>5.4</c:v>
                </c:pt>
                <c:pt idx="86">
                  <c:v>4.97</c:v>
                </c:pt>
                <c:pt idx="87">
                  <c:v>4.79</c:v>
                </c:pt>
                <c:pt idx="88">
                  <c:v>4.68</c:v>
                </c:pt>
                <c:pt idx="89">
                  <c:v>4.63</c:v>
                </c:pt>
                <c:pt idx="90">
                  <c:v>4.8099999999999996</c:v>
                </c:pt>
                <c:pt idx="91">
                  <c:v>5.0599999999999996</c:v>
                </c:pt>
                <c:pt idx="92">
                  <c:v>4.5999999999999996</c:v>
                </c:pt>
                <c:pt idx="93">
                  <c:v>4.7</c:v>
                </c:pt>
                <c:pt idx="94">
                  <c:v>4.9000000000000004</c:v>
                </c:pt>
                <c:pt idx="95">
                  <c:v>4.45</c:v>
                </c:pt>
                <c:pt idx="96">
                  <c:v>5.17</c:v>
                </c:pt>
                <c:pt idx="97">
                  <c:v>5.26</c:v>
                </c:pt>
                <c:pt idx="98">
                  <c:v>4.95</c:v>
                </c:pt>
                <c:pt idx="99">
                  <c:v>5.0999999999999996</c:v>
                </c:pt>
                <c:pt idx="100">
                  <c:v>5.44</c:v>
                </c:pt>
                <c:pt idx="101">
                  <c:v>5.0199999999999996</c:v>
                </c:pt>
                <c:pt idx="102">
                  <c:v>4.84</c:v>
                </c:pt>
                <c:pt idx="103">
                  <c:v>4.87</c:v>
                </c:pt>
                <c:pt idx="104">
                  <c:v>5.24</c:v>
                </c:pt>
                <c:pt idx="105">
                  <c:v>4.8099999999999996</c:v>
                </c:pt>
                <c:pt idx="106">
                  <c:v>4.66</c:v>
                </c:pt>
                <c:pt idx="107">
                  <c:v>4.3600000000000003</c:v>
                </c:pt>
                <c:pt idx="108">
                  <c:v>4.5</c:v>
                </c:pt>
                <c:pt idx="109">
                  <c:v>4.16</c:v>
                </c:pt>
                <c:pt idx="110">
                  <c:v>3.67</c:v>
                </c:pt>
                <c:pt idx="111">
                  <c:v>4.41</c:v>
                </c:pt>
                <c:pt idx="112">
                  <c:v>4.41</c:v>
                </c:pt>
                <c:pt idx="113">
                  <c:v>3.95</c:v>
                </c:pt>
                <c:pt idx="114">
                  <c:v>4.26</c:v>
                </c:pt>
                <c:pt idx="115">
                  <c:v>3.75</c:v>
                </c:pt>
                <c:pt idx="116">
                  <c:v>3.22</c:v>
                </c:pt>
                <c:pt idx="117">
                  <c:v>3.47</c:v>
                </c:pt>
                <c:pt idx="118">
                  <c:v>3.42</c:v>
                </c:pt>
                <c:pt idx="119">
                  <c:v>3.49</c:v>
                </c:pt>
                <c:pt idx="120">
                  <c:v>3.82</c:v>
                </c:pt>
                <c:pt idx="121">
                  <c:v>3.82</c:v>
                </c:pt>
                <c:pt idx="122">
                  <c:v>3.63</c:v>
                </c:pt>
                <c:pt idx="123">
                  <c:v>3.57</c:v>
                </c:pt>
                <c:pt idx="124">
                  <c:v>3.45</c:v>
                </c:pt>
                <c:pt idx="125">
                  <c:v>3.56</c:v>
                </c:pt>
                <c:pt idx="126">
                  <c:v>3.74</c:v>
                </c:pt>
                <c:pt idx="127">
                  <c:v>3.54</c:v>
                </c:pt>
                <c:pt idx="128">
                  <c:v>3.45</c:v>
                </c:pt>
                <c:pt idx="129">
                  <c:v>3.53</c:v>
                </c:pt>
                <c:pt idx="130">
                  <c:v>3.23</c:v>
                </c:pt>
                <c:pt idx="131">
                  <c:v>3.44</c:v>
                </c:pt>
                <c:pt idx="132">
                  <c:v>3.33</c:v>
                </c:pt>
                <c:pt idx="133">
                  <c:v>3.25</c:v>
                </c:pt>
                <c:pt idx="134">
                  <c:v>3.52</c:v>
                </c:pt>
                <c:pt idx="135">
                  <c:v>3.21</c:v>
                </c:pt>
                <c:pt idx="136">
                  <c:v>3.18</c:v>
                </c:pt>
                <c:pt idx="137">
                  <c:v>3.23</c:v>
                </c:pt>
                <c:pt idx="138">
                  <c:v>3.37</c:v>
                </c:pt>
                <c:pt idx="139">
                  <c:v>3.11</c:v>
                </c:pt>
                <c:pt idx="140">
                  <c:v>3.02</c:v>
                </c:pt>
                <c:pt idx="141">
                  <c:v>2.93</c:v>
                </c:pt>
                <c:pt idx="142">
                  <c:v>2.97</c:v>
                </c:pt>
                <c:pt idx="143">
                  <c:v>2.94</c:v>
                </c:pt>
                <c:pt idx="144">
                  <c:v>2.79</c:v>
                </c:pt>
                <c:pt idx="145">
                  <c:v>2.62</c:v>
                </c:pt>
                <c:pt idx="146">
                  <c:v>2.4300000000000002</c:v>
                </c:pt>
                <c:pt idx="147">
                  <c:v>2.4700000000000002</c:v>
                </c:pt>
                <c:pt idx="148">
                  <c:v>2.35</c:v>
                </c:pt>
                <c:pt idx="149">
                  <c:v>2.58</c:v>
                </c:pt>
                <c:pt idx="150" formatCode="0.00">
                  <c:v>2.4300000000000002</c:v>
                </c:pt>
                <c:pt idx="151" formatCode="0.00">
                  <c:v>2.44</c:v>
                </c:pt>
                <c:pt idx="152" formatCode="0.00">
                  <c:v>2.67</c:v>
                </c:pt>
                <c:pt idx="153" formatCode="0.00">
                  <c:v>2.48</c:v>
                </c:pt>
                <c:pt idx="154" formatCode="0.00">
                  <c:v>2.48</c:v>
                </c:pt>
                <c:pt idx="155" formatCode="0.00">
                  <c:v>2.7</c:v>
                </c:pt>
                <c:pt idx="156" formatCode="0.00">
                  <c:v>2.54</c:v>
                </c:pt>
                <c:pt idx="157" formatCode="0.00">
                  <c:v>2.5499999999999998</c:v>
                </c:pt>
                <c:pt idx="158" formatCode="0.00">
                  <c:v>2.5</c:v>
                </c:pt>
                <c:pt idx="159" formatCode="0.00">
                  <c:v>2.4</c:v>
                </c:pt>
                <c:pt idx="160" formatCode="0.00">
                  <c:v>2.2999999999999998</c:v>
                </c:pt>
                <c:pt idx="161" formatCode="0.00">
                  <c:v>2.2999999999999998</c:v>
                </c:pt>
                <c:pt idx="162" formatCode="0.00">
                  <c:v>2.25</c:v>
                </c:pt>
                <c:pt idx="163" formatCode="0.00">
                  <c:v>2.19</c:v>
                </c:pt>
                <c:pt idx="164" formatCode="0.00">
                  <c:v>2.16</c:v>
                </c:pt>
                <c:pt idx="165" formatCode="0.00">
                  <c:v>2.12</c:v>
                </c:pt>
                <c:pt idx="166" formatCode="0.00">
                  <c:v>2.1</c:v>
                </c:pt>
                <c:pt idx="167" formatCode="0.00">
                  <c:v>2.14</c:v>
                </c:pt>
                <c:pt idx="168" formatCode="0.00">
                  <c:v>2.29</c:v>
                </c:pt>
                <c:pt idx="169" formatCode="0.00">
                  <c:v>2.25</c:v>
                </c:pt>
                <c:pt idx="170" formatCode="0.00">
                  <c:v>2.2400000000000002</c:v>
                </c:pt>
                <c:pt idx="171" formatCode="0.00">
                  <c:v>2.2599999999999998</c:v>
                </c:pt>
                <c:pt idx="172" formatCode="0.00">
                  <c:v>2.19</c:v>
                </c:pt>
                <c:pt idx="173" formatCode="0.00">
                  <c:v>2.2000000000000002</c:v>
                </c:pt>
                <c:pt idx="174" formatCode="0.00">
                  <c:v>2.2400000000000002</c:v>
                </c:pt>
                <c:pt idx="175" formatCode="0.00">
                  <c:v>2.2400000000000002</c:v>
                </c:pt>
                <c:pt idx="176" formatCode="0.00">
                  <c:v>2.12</c:v>
                </c:pt>
                <c:pt idx="177" formatCode="0.00">
                  <c:v>2.15</c:v>
                </c:pt>
                <c:pt idx="178" formatCode="0.00">
                  <c:v>2.2000000000000002</c:v>
                </c:pt>
                <c:pt idx="179" formatCode="0.00">
                  <c:v>2.19</c:v>
                </c:pt>
                <c:pt idx="180" formatCode="0.00">
                  <c:v>2.17</c:v>
                </c:pt>
                <c:pt idx="181" formatCode="0.00">
                  <c:v>2.29</c:v>
                </c:pt>
                <c:pt idx="182" formatCode="0.00">
                  <c:v>2.29</c:v>
                </c:pt>
                <c:pt idx="183" formatCode="0.00">
                  <c:v>2.3199999999999998</c:v>
                </c:pt>
                <c:pt idx="184" formatCode="0.00">
                  <c:v>2.2999999999999998</c:v>
                </c:pt>
                <c:pt idx="185" formatCode="0.00">
                  <c:v>2.2599999999999998</c:v>
                </c:pt>
                <c:pt idx="186" formatCode="0.00">
                  <c:v>2.2999999999999998</c:v>
                </c:pt>
                <c:pt idx="187" formatCode="0.00">
                  <c:v>2.2599999999999998</c:v>
                </c:pt>
                <c:pt idx="188" formatCode="0.00">
                  <c:v>2.2599999999999998</c:v>
                </c:pt>
                <c:pt idx="189" formatCode="0.00">
                  <c:v>2.25</c:v>
                </c:pt>
                <c:pt idx="190" formatCode="0.00">
                  <c:v>2.2400000000000002</c:v>
                </c:pt>
                <c:pt idx="191" formatCode="0.00">
                  <c:v>2.23</c:v>
                </c:pt>
                <c:pt idx="192" formatCode="0.00">
                  <c:v>2.25</c:v>
                </c:pt>
                <c:pt idx="193" formatCode="0.00">
                  <c:v>2.19</c:v>
                </c:pt>
                <c:pt idx="194" formatCode="0.00">
                  <c:v>2.14</c:v>
                </c:pt>
                <c:pt idx="195" formatCode="0.00">
                  <c:v>2.1</c:v>
                </c:pt>
                <c:pt idx="196" formatCode="0.00">
                  <c:v>2.0699999999999998</c:v>
                </c:pt>
                <c:pt idx="197" formatCode="0.00">
                  <c:v>2</c:v>
                </c:pt>
                <c:pt idx="198" formatCode="0.00">
                  <c:v>1.98</c:v>
                </c:pt>
                <c:pt idx="199" formatCode="0.00">
                  <c:v>1.9</c:v>
                </c:pt>
                <c:pt idx="200" formatCode="0.00">
                  <c:v>1.76</c:v>
                </c:pt>
                <c:pt idx="201" formatCode="0.00">
                  <c:v>1.62</c:v>
                </c:pt>
                <c:pt idx="202" formatCode="0.00">
                  <c:v>1.59</c:v>
                </c:pt>
                <c:pt idx="203" formatCode="0.00">
                  <c:v>1.62</c:v>
                </c:pt>
                <c:pt idx="204" formatCode="0.00">
                  <c:v>1.56</c:v>
                </c:pt>
                <c:pt idx="205" formatCode="0.00">
                  <c:v>1.55</c:v>
                </c:pt>
                <c:pt idx="206" formatCode="0.00">
                  <c:v>1.56</c:v>
                </c:pt>
                <c:pt idx="207" formatCode="0.00">
                  <c:v>1.51</c:v>
                </c:pt>
                <c:pt idx="208" formatCode="0.00">
                  <c:v>1.48</c:v>
                </c:pt>
                <c:pt idx="209" formatCode="0.00">
                  <c:v>1.54</c:v>
                </c:pt>
                <c:pt idx="210" formatCode="0.00">
                  <c:v>1.45</c:v>
                </c:pt>
                <c:pt idx="211" formatCode="0.00">
                  <c:v>1.47</c:v>
                </c:pt>
                <c:pt idx="212" formatCode="0.00">
                  <c:v>1.45</c:v>
                </c:pt>
                <c:pt idx="213" formatCode="0.00">
                  <c:v>1.43</c:v>
                </c:pt>
                <c:pt idx="214" formatCode="0.00">
                  <c:v>1.41</c:v>
                </c:pt>
                <c:pt idx="215" formatCode="0.00">
                  <c:v>1.42</c:v>
                </c:pt>
                <c:pt idx="216" formatCode="0.00">
                  <c:v>1.36</c:v>
                </c:pt>
                <c:pt idx="217" formatCode="0.00">
                  <c:v>1.33</c:v>
                </c:pt>
                <c:pt idx="218" formatCode="0.00">
                  <c:v>1.35</c:v>
                </c:pt>
                <c:pt idx="219" formatCode="0.00">
                  <c:v>1.35</c:v>
                </c:pt>
                <c:pt idx="220" formatCode="0.00">
                  <c:v>1.34</c:v>
                </c:pt>
                <c:pt idx="221" formatCode="0.00">
                  <c:v>1.35</c:v>
                </c:pt>
                <c:pt idx="222" formatCode="0.00">
                  <c:v>1.36</c:v>
                </c:pt>
                <c:pt idx="223" formatCode="0.00">
                  <c:v>1.33</c:v>
                </c:pt>
                <c:pt idx="224" formatCode="0.00">
                  <c:v>1.33</c:v>
                </c:pt>
                <c:pt idx="225" formatCode="0.00">
                  <c:v>1.33</c:v>
                </c:pt>
                <c:pt idx="226" formatCode="0.00">
                  <c:v>1.34</c:v>
                </c:pt>
                <c:pt idx="227" formatCode="0.00">
                  <c:v>1.38</c:v>
                </c:pt>
                <c:pt idx="228" formatCode="0.00">
                  <c:v>1.35</c:v>
                </c:pt>
                <c:pt idx="229" formatCode="0.00">
                  <c:v>1.36</c:v>
                </c:pt>
                <c:pt idx="230" formatCode="0.00">
                  <c:v>1.42</c:v>
                </c:pt>
                <c:pt idx="231">
                  <c:v>1.52</c:v>
                </c:pt>
                <c:pt idx="232" formatCode="0.00">
                  <c:v>1.71</c:v>
                </c:pt>
                <c:pt idx="233" formatCode="0.00">
                  <c:v>1.96</c:v>
                </c:pt>
                <c:pt idx="234" formatCode="0.00">
                  <c:v>2.14</c:v>
                </c:pt>
                <c:pt idx="235" formatCode="0.00">
                  <c:v>2.2999999999999998</c:v>
                </c:pt>
                <c:pt idx="236" formatCode="0.00">
                  <c:v>2.4300000000000002</c:v>
                </c:pt>
                <c:pt idx="237" formatCode="0.00">
                  <c:v>2.75</c:v>
                </c:pt>
                <c:pt idx="238" formatCode="0.00">
                  <c:v>3.15</c:v>
                </c:pt>
              </c:numCache>
            </c:numRef>
          </c:val>
          <c:smooth val="0"/>
          <c:extLst>
            <c:ext xmlns:c16="http://schemas.microsoft.com/office/drawing/2014/chart" uri="{C3380CC4-5D6E-409C-BE32-E72D297353CC}">
              <c16:uniqueId val="{00000001-B5C6-419D-B2D0-DE6E1B0C268E}"/>
            </c:ext>
          </c:extLst>
        </c:ser>
        <c:dLbls>
          <c:showLegendKey val="0"/>
          <c:showVal val="0"/>
          <c:showCatName val="0"/>
          <c:showSerName val="0"/>
          <c:showPercent val="0"/>
          <c:showBubbleSize val="0"/>
        </c:dLbls>
        <c:smooth val="0"/>
        <c:axId val="103542919"/>
        <c:axId val="103551775"/>
      </c:lineChart>
      <c:dateAx>
        <c:axId val="103542919"/>
        <c:scaling>
          <c:orientation val="minMax"/>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03551775"/>
        <c:crosses val="autoZero"/>
        <c:auto val="1"/>
        <c:lblOffset val="100"/>
        <c:baseTimeUnit val="months"/>
        <c:majorUnit val="24"/>
        <c:majorTimeUnit val="months"/>
      </c:dateAx>
      <c:valAx>
        <c:axId val="103551775"/>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035429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de-AT"/>
              <a:t>Immobilienpreise Österreich (Q1 2000 = 100)</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lineChart>
        <c:grouping val="standard"/>
        <c:varyColors val="0"/>
        <c:ser>
          <c:idx val="0"/>
          <c:order val="0"/>
          <c:spPr>
            <a:ln w="28575" cap="rnd">
              <a:solidFill>
                <a:schemeClr val="accent1"/>
              </a:solidFill>
              <a:round/>
            </a:ln>
            <a:effectLst/>
          </c:spPr>
          <c:marker>
            <c:symbol val="none"/>
          </c:marker>
          <c:dPt>
            <c:idx val="80"/>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01-5597-4CA3-A47C-83700F1609AC}"/>
              </c:ext>
            </c:extLst>
          </c:dPt>
          <c:dPt>
            <c:idx val="81"/>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03-5597-4CA3-A47C-83700F1609AC}"/>
              </c:ext>
            </c:extLst>
          </c:dPt>
          <c:dPt>
            <c:idx val="82"/>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05-5597-4CA3-A47C-83700F1609AC}"/>
              </c:ext>
            </c:extLst>
          </c:dPt>
          <c:dPt>
            <c:idx val="83"/>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07-5597-4CA3-A47C-83700F1609AC}"/>
              </c:ext>
            </c:extLst>
          </c:dPt>
          <c:dPt>
            <c:idx val="84"/>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09-5597-4CA3-A47C-83700F1609AC}"/>
              </c:ext>
            </c:extLst>
          </c:dPt>
          <c:dPt>
            <c:idx val="85"/>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0B-5597-4CA3-A47C-83700F1609AC}"/>
              </c:ext>
            </c:extLst>
          </c:dPt>
          <c:dPt>
            <c:idx val="86"/>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0D-5597-4CA3-A47C-83700F1609AC}"/>
              </c:ext>
            </c:extLst>
          </c:dPt>
          <c:dPt>
            <c:idx val="87"/>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0F-5597-4CA3-A47C-83700F1609AC}"/>
              </c:ext>
            </c:extLst>
          </c:dPt>
          <c:dPt>
            <c:idx val="88"/>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11-5597-4CA3-A47C-83700F1609AC}"/>
              </c:ext>
            </c:extLst>
          </c:dPt>
          <c:dPt>
            <c:idx val="89"/>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13-5597-4CA3-A47C-83700F1609AC}"/>
              </c:ext>
            </c:extLst>
          </c:dPt>
          <c:dPt>
            <c:idx val="90"/>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15-5597-4CA3-A47C-83700F1609AC}"/>
              </c:ext>
            </c:extLst>
          </c:dPt>
          <c:dPt>
            <c:idx val="91"/>
            <c:marker>
              <c:symbol val="none"/>
            </c:marker>
            <c:bubble3D val="0"/>
            <c:spPr>
              <a:ln w="28575" cap="rnd">
                <a:solidFill>
                  <a:schemeClr val="accent1"/>
                </a:solidFill>
                <a:prstDash val="sysDot"/>
                <a:round/>
              </a:ln>
              <a:effectLst/>
            </c:spPr>
            <c:extLst>
              <c:ext xmlns:c16="http://schemas.microsoft.com/office/drawing/2014/chart" uri="{C3380CC4-5D6E-409C-BE32-E72D297353CC}">
                <c16:uniqueId val="{00000017-5597-4CA3-A47C-83700F1609AC}"/>
              </c:ext>
            </c:extLst>
          </c:dPt>
          <c:dLbls>
            <c:dLbl>
              <c:idx val="91"/>
              <c:layout>
                <c:manualLayout>
                  <c:x val="-5.0078239033555703E-2"/>
                  <c:y val="-6.8197400405617267E-2"/>
                </c:manualLayout>
              </c:layout>
              <c:tx>
                <c:rich>
                  <a:bodyPr/>
                  <a:lstStyle/>
                  <a:p>
                    <a:r>
                      <a:rPr lang="en-US" dirty="0"/>
                      <a:t>Q4 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5597-4CA3-A47C-83700F1609A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ang!$A$8:$A$99</c:f>
              <c:strCache>
                <c:ptCount val="92"/>
                <c:pt idx="0">
                  <c:v>Q1 00</c:v>
                </c:pt>
                <c:pt idx="1">
                  <c:v>Q2 00</c:v>
                </c:pt>
                <c:pt idx="2">
                  <c:v>Q3 00</c:v>
                </c:pt>
                <c:pt idx="3">
                  <c:v>Q4 00</c:v>
                </c:pt>
                <c:pt idx="4">
                  <c:v>Q1 01</c:v>
                </c:pt>
                <c:pt idx="5">
                  <c:v>Q2 01</c:v>
                </c:pt>
                <c:pt idx="6">
                  <c:v>Q3 01</c:v>
                </c:pt>
                <c:pt idx="7">
                  <c:v>Q4 01</c:v>
                </c:pt>
                <c:pt idx="8">
                  <c:v>Q1 02</c:v>
                </c:pt>
                <c:pt idx="9">
                  <c:v>Q2 02</c:v>
                </c:pt>
                <c:pt idx="10">
                  <c:v>Q3 02</c:v>
                </c:pt>
                <c:pt idx="11">
                  <c:v>Q4 02</c:v>
                </c:pt>
                <c:pt idx="12">
                  <c:v>Q1 03</c:v>
                </c:pt>
                <c:pt idx="13">
                  <c:v>Q2 03</c:v>
                </c:pt>
                <c:pt idx="14">
                  <c:v>Q3 03</c:v>
                </c:pt>
                <c:pt idx="15">
                  <c:v>Q4 03</c:v>
                </c:pt>
                <c:pt idx="16">
                  <c:v>Q1 04</c:v>
                </c:pt>
                <c:pt idx="17">
                  <c:v>Q2 04</c:v>
                </c:pt>
                <c:pt idx="18">
                  <c:v>Q3 04</c:v>
                </c:pt>
                <c:pt idx="19">
                  <c:v>Q4 04</c:v>
                </c:pt>
                <c:pt idx="20">
                  <c:v>Q1 05</c:v>
                </c:pt>
                <c:pt idx="21">
                  <c:v>Q2 05</c:v>
                </c:pt>
                <c:pt idx="22">
                  <c:v>Q3 05</c:v>
                </c:pt>
                <c:pt idx="23">
                  <c:v>Q4 05</c:v>
                </c:pt>
                <c:pt idx="24">
                  <c:v>Q1 06</c:v>
                </c:pt>
                <c:pt idx="25">
                  <c:v>Q2 06</c:v>
                </c:pt>
                <c:pt idx="26">
                  <c:v>Q3 06</c:v>
                </c:pt>
                <c:pt idx="27">
                  <c:v>Q4 06</c:v>
                </c:pt>
                <c:pt idx="28">
                  <c:v>Q1 07</c:v>
                </c:pt>
                <c:pt idx="29">
                  <c:v>Q2 07</c:v>
                </c:pt>
                <c:pt idx="30">
                  <c:v>Q3 07</c:v>
                </c:pt>
                <c:pt idx="31">
                  <c:v>Q4 07</c:v>
                </c:pt>
                <c:pt idx="32">
                  <c:v>Q1 08</c:v>
                </c:pt>
                <c:pt idx="33">
                  <c:v>Q2 08</c:v>
                </c:pt>
                <c:pt idx="34">
                  <c:v>Q3 08</c:v>
                </c:pt>
                <c:pt idx="35">
                  <c:v>Q4 08</c:v>
                </c:pt>
                <c:pt idx="36">
                  <c:v>Q1 09</c:v>
                </c:pt>
                <c:pt idx="37">
                  <c:v>Q2 09</c:v>
                </c:pt>
                <c:pt idx="38">
                  <c:v>Q3 09</c:v>
                </c:pt>
                <c:pt idx="39">
                  <c:v>Q4 09</c:v>
                </c:pt>
                <c:pt idx="40">
                  <c:v>Q1 10</c:v>
                </c:pt>
                <c:pt idx="41">
                  <c:v>Q2 10</c:v>
                </c:pt>
                <c:pt idx="42">
                  <c:v>Q3 10</c:v>
                </c:pt>
                <c:pt idx="43">
                  <c:v>Q4 10</c:v>
                </c:pt>
                <c:pt idx="44">
                  <c:v>Q1 11</c:v>
                </c:pt>
                <c:pt idx="45">
                  <c:v>Q2 11</c:v>
                </c:pt>
                <c:pt idx="46">
                  <c:v>Q3 11</c:v>
                </c:pt>
                <c:pt idx="47">
                  <c:v>Q4 11</c:v>
                </c:pt>
                <c:pt idx="48">
                  <c:v>Q1 12</c:v>
                </c:pt>
                <c:pt idx="49">
                  <c:v>Q2 12</c:v>
                </c:pt>
                <c:pt idx="50">
                  <c:v>Q3 12</c:v>
                </c:pt>
                <c:pt idx="51">
                  <c:v>Q4 12</c:v>
                </c:pt>
                <c:pt idx="52">
                  <c:v>Q1 13</c:v>
                </c:pt>
                <c:pt idx="53">
                  <c:v>Q2 13</c:v>
                </c:pt>
                <c:pt idx="54">
                  <c:v>Q3 13</c:v>
                </c:pt>
                <c:pt idx="55">
                  <c:v>Q4 13</c:v>
                </c:pt>
                <c:pt idx="56">
                  <c:v>Q1 14</c:v>
                </c:pt>
                <c:pt idx="57">
                  <c:v>Q2 14</c:v>
                </c:pt>
                <c:pt idx="58">
                  <c:v>Q3 14</c:v>
                </c:pt>
                <c:pt idx="59">
                  <c:v>Q4 14</c:v>
                </c:pt>
                <c:pt idx="60">
                  <c:v>Q1 15</c:v>
                </c:pt>
                <c:pt idx="61">
                  <c:v>Q2 15</c:v>
                </c:pt>
                <c:pt idx="62">
                  <c:v>Q3 15</c:v>
                </c:pt>
                <c:pt idx="63">
                  <c:v>Q4 15</c:v>
                </c:pt>
                <c:pt idx="64">
                  <c:v>Q1 16</c:v>
                </c:pt>
                <c:pt idx="65">
                  <c:v>Q2 16</c:v>
                </c:pt>
                <c:pt idx="66">
                  <c:v>Q3 16</c:v>
                </c:pt>
                <c:pt idx="67">
                  <c:v>Q4 16</c:v>
                </c:pt>
                <c:pt idx="68">
                  <c:v>Q1 17</c:v>
                </c:pt>
                <c:pt idx="69">
                  <c:v>Q2 17</c:v>
                </c:pt>
                <c:pt idx="70">
                  <c:v>Q3 17</c:v>
                </c:pt>
                <c:pt idx="71">
                  <c:v>Q4 17</c:v>
                </c:pt>
                <c:pt idx="72">
                  <c:v>Q1 18</c:v>
                </c:pt>
                <c:pt idx="73">
                  <c:v>Q2 18</c:v>
                </c:pt>
                <c:pt idx="74">
                  <c:v>Q3 18</c:v>
                </c:pt>
                <c:pt idx="75">
                  <c:v>Q4 18</c:v>
                </c:pt>
                <c:pt idx="76">
                  <c:v>Q1 19</c:v>
                </c:pt>
                <c:pt idx="77">
                  <c:v>Q2 19</c:v>
                </c:pt>
                <c:pt idx="78">
                  <c:v>Q3 19</c:v>
                </c:pt>
                <c:pt idx="79">
                  <c:v>Q4 19</c:v>
                </c:pt>
                <c:pt idx="80">
                  <c:v>Q1 20</c:v>
                </c:pt>
                <c:pt idx="81">
                  <c:v>Q2 20</c:v>
                </c:pt>
                <c:pt idx="82">
                  <c:v>Q3 20</c:v>
                </c:pt>
                <c:pt idx="83">
                  <c:v>Q4 20</c:v>
                </c:pt>
                <c:pt idx="84">
                  <c:v>Q1 21</c:v>
                </c:pt>
                <c:pt idx="85">
                  <c:v>Q2 21</c:v>
                </c:pt>
                <c:pt idx="86">
                  <c:v>Q3 21</c:v>
                </c:pt>
                <c:pt idx="87">
                  <c:v>Q4 21</c:v>
                </c:pt>
                <c:pt idx="88">
                  <c:v>Q1 22</c:v>
                </c:pt>
                <c:pt idx="89">
                  <c:v>Q2 22</c:v>
                </c:pt>
                <c:pt idx="90">
                  <c:v>Q3 22</c:v>
                </c:pt>
                <c:pt idx="91">
                  <c:v>Q4 22</c:v>
                </c:pt>
              </c:strCache>
            </c:strRef>
          </c:cat>
          <c:val>
            <c:numRef>
              <c:f>lang!$P$8:$P$99</c:f>
              <c:numCache>
                <c:formatCode>0.0</c:formatCode>
                <c:ptCount val="92"/>
                <c:pt idx="0">
                  <c:v>100</c:v>
                </c:pt>
                <c:pt idx="1">
                  <c:v>98.336594911937368</c:v>
                </c:pt>
                <c:pt idx="2">
                  <c:v>96.67318982387475</c:v>
                </c:pt>
                <c:pt idx="3">
                  <c:v>96.379647749510752</c:v>
                </c:pt>
                <c:pt idx="4">
                  <c:v>101.07632093933464</c:v>
                </c:pt>
                <c:pt idx="5">
                  <c:v>96.67318982387475</c:v>
                </c:pt>
                <c:pt idx="6">
                  <c:v>100.587084148728</c:v>
                </c:pt>
                <c:pt idx="7">
                  <c:v>96.379647749510752</c:v>
                </c:pt>
                <c:pt idx="8">
                  <c:v>99.510763209393346</c:v>
                </c:pt>
                <c:pt idx="9">
                  <c:v>97.847358121330714</c:v>
                </c:pt>
                <c:pt idx="10">
                  <c:v>101.17416829745598</c:v>
                </c:pt>
                <c:pt idx="11">
                  <c:v>98.434442270058696</c:v>
                </c:pt>
                <c:pt idx="12">
                  <c:v>100.09784735812133</c:v>
                </c:pt>
                <c:pt idx="13">
                  <c:v>99.11937377690802</c:v>
                </c:pt>
                <c:pt idx="14">
                  <c:v>98.140900195694712</c:v>
                </c:pt>
                <c:pt idx="15">
                  <c:v>100.68493150684932</c:v>
                </c:pt>
                <c:pt idx="16">
                  <c:v>93.150684931506845</c:v>
                </c:pt>
                <c:pt idx="17">
                  <c:v>98.043052837573384</c:v>
                </c:pt>
                <c:pt idx="18">
                  <c:v>98.532289628180038</c:v>
                </c:pt>
                <c:pt idx="19">
                  <c:v>100.68493150684932</c:v>
                </c:pt>
                <c:pt idx="20">
                  <c:v>101.07632093933464</c:v>
                </c:pt>
                <c:pt idx="21">
                  <c:v>102.05479452054793</c:v>
                </c:pt>
                <c:pt idx="22">
                  <c:v>102.15264187866929</c:v>
                </c:pt>
                <c:pt idx="23">
                  <c:v>104.59882583170254</c:v>
                </c:pt>
                <c:pt idx="24">
                  <c:v>105.7729941291585</c:v>
                </c:pt>
                <c:pt idx="25">
                  <c:v>106.65362035225047</c:v>
                </c:pt>
                <c:pt idx="26">
                  <c:v>107.33855185909979</c:v>
                </c:pt>
                <c:pt idx="27">
                  <c:v>106.94716242661448</c:v>
                </c:pt>
                <c:pt idx="28">
                  <c:v>110.07827788649706</c:v>
                </c:pt>
                <c:pt idx="29">
                  <c:v>112.32876712328768</c:v>
                </c:pt>
                <c:pt idx="30">
                  <c:v>113.013698630137</c:v>
                </c:pt>
                <c:pt idx="31">
                  <c:v>111.25244618395303</c:v>
                </c:pt>
                <c:pt idx="32">
                  <c:v>112.03522504892366</c:v>
                </c:pt>
                <c:pt idx="33">
                  <c:v>111.25244618395303</c:v>
                </c:pt>
                <c:pt idx="34">
                  <c:v>113.30724070450098</c:v>
                </c:pt>
                <c:pt idx="35">
                  <c:v>114.87279843444227</c:v>
                </c:pt>
                <c:pt idx="36">
                  <c:v>117.12328767123287</c:v>
                </c:pt>
                <c:pt idx="37">
                  <c:v>117.61252446183954</c:v>
                </c:pt>
                <c:pt idx="38">
                  <c:v>116.92759295499022</c:v>
                </c:pt>
                <c:pt idx="39">
                  <c:v>117.41682974559686</c:v>
                </c:pt>
                <c:pt idx="40">
                  <c:v>123.67906066536203</c:v>
                </c:pt>
                <c:pt idx="41">
                  <c:v>124.16829745596868</c:v>
                </c:pt>
                <c:pt idx="42">
                  <c:v>124.26614481409001</c:v>
                </c:pt>
                <c:pt idx="43">
                  <c:v>126.02739726027399</c:v>
                </c:pt>
                <c:pt idx="44">
                  <c:v>129.35420743639921</c:v>
                </c:pt>
                <c:pt idx="45">
                  <c:v>125.83170254403132</c:v>
                </c:pt>
                <c:pt idx="46">
                  <c:v>131.70254403131113</c:v>
                </c:pt>
                <c:pt idx="47">
                  <c:v>132.28962818003913</c:v>
                </c:pt>
                <c:pt idx="48">
                  <c:v>143.24853228962817</c:v>
                </c:pt>
                <c:pt idx="49">
                  <c:v>145.40117416829744</c:v>
                </c:pt>
                <c:pt idx="50">
                  <c:v>147.35812133072406</c:v>
                </c:pt>
                <c:pt idx="51">
                  <c:v>147.45596868884539</c:v>
                </c:pt>
                <c:pt idx="52">
                  <c:v>150.19569471624266</c:v>
                </c:pt>
                <c:pt idx="53">
                  <c:v>152.64187866927591</c:v>
                </c:pt>
                <c:pt idx="54">
                  <c:v>154.30528375733854</c:v>
                </c:pt>
                <c:pt idx="55">
                  <c:v>153.52250489236792</c:v>
                </c:pt>
                <c:pt idx="56">
                  <c:v>156.36007827788649</c:v>
                </c:pt>
                <c:pt idx="57">
                  <c:v>159.98043052837573</c:v>
                </c:pt>
                <c:pt idx="58">
                  <c:v>158.02348336594912</c:v>
                </c:pt>
                <c:pt idx="59">
                  <c:v>157.24070450097847</c:v>
                </c:pt>
                <c:pt idx="60">
                  <c:v>161.93737769080235</c:v>
                </c:pt>
                <c:pt idx="61">
                  <c:v>162.32876712328766</c:v>
                </c:pt>
                <c:pt idx="62">
                  <c:v>164.38356164383561</c:v>
                </c:pt>
                <c:pt idx="63">
                  <c:v>169.17808219178085</c:v>
                </c:pt>
                <c:pt idx="64">
                  <c:v>175.04892367906066</c:v>
                </c:pt>
                <c:pt idx="65">
                  <c:v>177.7886497064579</c:v>
                </c:pt>
                <c:pt idx="66">
                  <c:v>176.1252446183953</c:v>
                </c:pt>
                <c:pt idx="67">
                  <c:v>176.90802348336595</c:v>
                </c:pt>
                <c:pt idx="68">
                  <c:v>179.06066536203522</c:v>
                </c:pt>
                <c:pt idx="69">
                  <c:v>184.24657534246575</c:v>
                </c:pt>
                <c:pt idx="70">
                  <c:v>184.14872798434442</c:v>
                </c:pt>
                <c:pt idx="71">
                  <c:v>185.22504892367905</c:v>
                </c:pt>
                <c:pt idx="72">
                  <c:v>192.17221135029354</c:v>
                </c:pt>
                <c:pt idx="73">
                  <c:v>193.3463796477495</c:v>
                </c:pt>
                <c:pt idx="74">
                  <c:v>198.82583170254401</c:v>
                </c:pt>
                <c:pt idx="75">
                  <c:v>198.92367906066536</c:v>
                </c:pt>
                <c:pt idx="76">
                  <c:v>201.66340508806263</c:v>
                </c:pt>
                <c:pt idx="77">
                  <c:v>204.10958904109586</c:v>
                </c:pt>
                <c:pt idx="78">
                  <c:v>203.32681017612524</c:v>
                </c:pt>
                <c:pt idx="79">
                  <c:v>204.99021526418787</c:v>
                </c:pt>
                <c:pt idx="80">
                  <c:v>208.51272015655576</c:v>
                </c:pt>
                <c:pt idx="81">
                  <c:v>214.77495107632092</c:v>
                </c:pt>
                <c:pt idx="82">
                  <c:v>222.60273972602738</c:v>
                </c:pt>
                <c:pt idx="83">
                  <c:v>225.44031311154598</c:v>
                </c:pt>
                <c:pt idx="84">
                  <c:v>234.24657534246575</c:v>
                </c:pt>
                <c:pt idx="85">
                  <c:v>240.01956947162429</c:v>
                </c:pt>
                <c:pt idx="86">
                  <c:v>245.79256360078276</c:v>
                </c:pt>
                <c:pt idx="87">
                  <c:v>253.71819960861055</c:v>
                </c:pt>
                <c:pt idx="88">
                  <c:v>263.20939334637961</c:v>
                </c:pt>
                <c:pt idx="89">
                  <c:v>271.52641878669277</c:v>
                </c:pt>
                <c:pt idx="90">
                  <c:v>272.3091976516634</c:v>
                </c:pt>
                <c:pt idx="91">
                  <c:v>270.94765166340505</c:v>
                </c:pt>
              </c:numCache>
            </c:numRef>
          </c:val>
          <c:smooth val="0"/>
          <c:extLst>
            <c:ext xmlns:c16="http://schemas.microsoft.com/office/drawing/2014/chart" uri="{C3380CC4-5D6E-409C-BE32-E72D297353CC}">
              <c16:uniqueId val="{00000018-5597-4CA3-A47C-83700F1609AC}"/>
            </c:ext>
          </c:extLst>
        </c:ser>
        <c:dLbls>
          <c:showLegendKey val="0"/>
          <c:showVal val="0"/>
          <c:showCatName val="0"/>
          <c:showSerName val="0"/>
          <c:showPercent val="0"/>
          <c:showBubbleSize val="0"/>
        </c:dLbls>
        <c:smooth val="0"/>
        <c:axId val="1390971400"/>
        <c:axId val="1390972712"/>
      </c:lineChart>
      <c:catAx>
        <c:axId val="1390971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90972712"/>
        <c:crosses val="autoZero"/>
        <c:auto val="1"/>
        <c:lblAlgn val="ctr"/>
        <c:lblOffset val="100"/>
        <c:tickLblSkip val="8"/>
        <c:tickMarkSkip val="8"/>
        <c:noMultiLvlLbl val="0"/>
      </c:catAx>
      <c:valAx>
        <c:axId val="1390972712"/>
        <c:scaling>
          <c:orientation val="minMax"/>
          <c:min val="8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90971400"/>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de-AT"/>
              <a:t>Immobilienpreise Österreich (% p.q.)</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barChart>
        <c:barDir val="col"/>
        <c:grouping val="clustered"/>
        <c:varyColors val="0"/>
        <c:ser>
          <c:idx val="0"/>
          <c:order val="0"/>
          <c:spPr>
            <a:solidFill>
              <a:schemeClr val="accent1"/>
            </a:solidFill>
            <a:ln>
              <a:noFill/>
            </a:ln>
            <a:effectLst/>
          </c:spPr>
          <c:invertIfNegative val="0"/>
          <c:cat>
            <c:strRef>
              <c:f>'Excel_Download_6_6 (24)'!$A$68:$A$73</c:f>
              <c:strCache>
                <c:ptCount val="6"/>
                <c:pt idx="0">
                  <c:v>ø 2019</c:v>
                </c:pt>
                <c:pt idx="1">
                  <c:v>ø 2020</c:v>
                </c:pt>
                <c:pt idx="2">
                  <c:v>ø 2021</c:v>
                </c:pt>
                <c:pt idx="3">
                  <c:v>ø Q1-Q2 2022</c:v>
                </c:pt>
                <c:pt idx="4">
                  <c:v>Q3 2022</c:v>
                </c:pt>
                <c:pt idx="5">
                  <c:v>Q4 2022</c:v>
                </c:pt>
              </c:strCache>
            </c:strRef>
          </c:cat>
          <c:val>
            <c:numRef>
              <c:f>'Excel_Download_6_6 (24)'!$B$68:$B$73</c:f>
              <c:numCache>
                <c:formatCode>0.0</c:formatCode>
                <c:ptCount val="6"/>
                <c:pt idx="0">
                  <c:v>0.7562158931599533</c:v>
                </c:pt>
                <c:pt idx="1">
                  <c:v>2.4102585326641837</c:v>
                </c:pt>
                <c:pt idx="2">
                  <c:v>3.0001212407591793</c:v>
                </c:pt>
                <c:pt idx="3">
                  <c:v>3.4503460130720809</c:v>
                </c:pt>
                <c:pt idx="4">
                  <c:v>0.28828828828828534</c:v>
                </c:pt>
                <c:pt idx="5">
                  <c:v>-1.9403521379806055</c:v>
                </c:pt>
              </c:numCache>
            </c:numRef>
          </c:val>
          <c:extLst>
            <c:ext xmlns:c16="http://schemas.microsoft.com/office/drawing/2014/chart" uri="{C3380CC4-5D6E-409C-BE32-E72D297353CC}">
              <c16:uniqueId val="{00000000-2D73-4152-823E-187E206895FC}"/>
            </c:ext>
          </c:extLst>
        </c:ser>
        <c:dLbls>
          <c:showLegendKey val="0"/>
          <c:showVal val="0"/>
          <c:showCatName val="0"/>
          <c:showSerName val="0"/>
          <c:showPercent val="0"/>
          <c:showBubbleSize val="0"/>
        </c:dLbls>
        <c:gapWidth val="219"/>
        <c:overlap val="-27"/>
        <c:axId val="1011101272"/>
        <c:axId val="1011105208"/>
      </c:barChart>
      <c:catAx>
        <c:axId val="10111012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011105208"/>
        <c:crosses val="autoZero"/>
        <c:auto val="1"/>
        <c:lblAlgn val="ctr"/>
        <c:lblOffset val="100"/>
        <c:noMultiLvlLbl val="0"/>
      </c:catAx>
      <c:valAx>
        <c:axId val="1011105208"/>
        <c:scaling>
          <c:orientation val="minMax"/>
          <c:max val="4"/>
          <c:min val="-3"/>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011101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5754</cdr:x>
      <cdr:y>0.48019</cdr:y>
    </cdr:from>
    <cdr:to>
      <cdr:x>0.95043</cdr:x>
      <cdr:y>0.48019</cdr:y>
    </cdr:to>
    <cdr:cxnSp macro="">
      <cdr:nvCxnSpPr>
        <cdr:cNvPr id="2" name="Gerader Verbinder 1">
          <a:extLst xmlns:a="http://schemas.openxmlformats.org/drawingml/2006/main">
            <a:ext uri="{FF2B5EF4-FFF2-40B4-BE49-F238E27FC236}">
              <a16:creationId xmlns:a16="http://schemas.microsoft.com/office/drawing/2014/main" id="{B5129073-6F3C-4846-BA28-D35A3DEB873B}"/>
            </a:ext>
          </a:extLst>
        </cdr:cNvPr>
        <cdr:cNvCxnSpPr/>
      </cdr:nvCxnSpPr>
      <cdr:spPr bwMode="gray">
        <a:xfrm xmlns:a="http://schemas.openxmlformats.org/drawingml/2006/main">
          <a:off x="368600" y="2495323"/>
          <a:ext cx="5719464" cy="0"/>
        </a:xfrm>
        <a:prstGeom xmlns:a="http://schemas.openxmlformats.org/drawingml/2006/main" prst="line">
          <a:avLst/>
        </a:prstGeom>
        <a:ln xmlns:a="http://schemas.openxmlformats.org/drawingml/2006/main" w="19050">
          <a:solidFill>
            <a:srgbClr val="C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46797</cdr:x>
      <cdr:y>0.10678</cdr:y>
    </cdr:from>
    <cdr:to>
      <cdr:x>0.46797</cdr:x>
      <cdr:y>0.92036</cdr:y>
    </cdr:to>
    <cdr:cxnSp macro="">
      <cdr:nvCxnSpPr>
        <cdr:cNvPr id="3" name="Gerader Verbinder 2">
          <a:extLst xmlns:a="http://schemas.openxmlformats.org/drawingml/2006/main">
            <a:ext uri="{FF2B5EF4-FFF2-40B4-BE49-F238E27FC236}">
              <a16:creationId xmlns:a16="http://schemas.microsoft.com/office/drawing/2014/main" id="{0A884876-DD47-40E6-9001-CC05D111DA64}"/>
            </a:ext>
          </a:extLst>
        </cdr:cNvPr>
        <cdr:cNvCxnSpPr/>
      </cdr:nvCxnSpPr>
      <cdr:spPr>
        <a:xfrm xmlns:a="http://schemas.openxmlformats.org/drawingml/2006/main" flipV="1">
          <a:off x="2848308" y="560486"/>
          <a:ext cx="0" cy="4270462"/>
        </a:xfrm>
        <a:prstGeom xmlns:a="http://schemas.openxmlformats.org/drawingml/2006/main" prst="line">
          <a:avLst/>
        </a:prstGeom>
        <a:ln xmlns:a="http://schemas.openxmlformats.org/drawingml/2006/main" w="12700">
          <a:solidFill>
            <a:schemeClr val="tx1">
              <a:lumMod val="65000"/>
              <a:lumOff val="35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1539</cdr:x>
      <cdr:y>0.18043</cdr:y>
    </cdr:from>
    <cdr:to>
      <cdr:x>1</cdr:x>
      <cdr:y>0.35634</cdr:y>
    </cdr:to>
    <cdr:sp macro="" textlink="">
      <cdr:nvSpPr>
        <cdr:cNvPr id="4" name="Textfeld 8">
          <a:extLst xmlns:a="http://schemas.openxmlformats.org/drawingml/2006/main">
            <a:ext uri="{FF2B5EF4-FFF2-40B4-BE49-F238E27FC236}">
              <a16:creationId xmlns:a16="http://schemas.microsoft.com/office/drawing/2014/main" id="{0075745A-60E8-4495-AEF8-6180C3D394BF}"/>
            </a:ext>
          </a:extLst>
        </cdr:cNvPr>
        <cdr:cNvSpPr txBox="1"/>
      </cdr:nvSpPr>
      <cdr:spPr bwMode="gray">
        <a:xfrm xmlns:a="http://schemas.openxmlformats.org/drawingml/2006/main">
          <a:off x="3136899" y="947073"/>
          <a:ext cx="2949575" cy="923347"/>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de-DE" b="1" dirty="0">
              <a:latin typeface="Amalia" panose="020B0504020203020204" pitchFamily="34" charset="0"/>
            </a:rPr>
            <a:t>	</a:t>
          </a:r>
          <a:r>
            <a:rPr lang="de-DE" sz="1400" b="1" dirty="0">
              <a:solidFill>
                <a:schemeClr val="tx1">
                  <a:lumMod val="65000"/>
                  <a:lumOff val="35000"/>
                </a:schemeClr>
              </a:solidFill>
              <a:latin typeface="Amalia" panose="020B0504020203020204" pitchFamily="34" charset="0"/>
            </a:rPr>
            <a:t>AT	EA</a:t>
          </a:r>
        </a:p>
        <a:p xmlns:a="http://schemas.openxmlformats.org/drawingml/2006/main">
          <a:pPr algn="l"/>
          <a:r>
            <a:rPr lang="de-DE" sz="1400" b="1" dirty="0">
              <a:solidFill>
                <a:schemeClr val="tx1">
                  <a:lumMod val="65000"/>
                  <a:lumOff val="35000"/>
                </a:schemeClr>
              </a:solidFill>
              <a:latin typeface="Amalia" panose="020B0504020203020204" pitchFamily="34" charset="0"/>
            </a:rPr>
            <a:t>2022f	</a:t>
          </a:r>
          <a:r>
            <a:rPr lang="de-DE" sz="1400" b="1" dirty="0">
              <a:solidFill>
                <a:srgbClr val="00B050"/>
              </a:solidFill>
              <a:latin typeface="Amalia" panose="020B0504020203020204" pitchFamily="34" charset="0"/>
            </a:rPr>
            <a:t>5,0 % p.a.	3,0 % p.a.</a:t>
          </a:r>
        </a:p>
        <a:p xmlns:a="http://schemas.openxmlformats.org/drawingml/2006/main">
          <a:pPr algn="l"/>
          <a:r>
            <a:rPr lang="de-DE" sz="1400" b="1" dirty="0">
              <a:solidFill>
                <a:schemeClr val="tx1">
                  <a:lumMod val="65000"/>
                  <a:lumOff val="35000"/>
                </a:schemeClr>
              </a:solidFill>
              <a:latin typeface="Amalia" panose="020B0504020203020204" pitchFamily="34" charset="0"/>
            </a:rPr>
            <a:t>2023f	</a:t>
          </a:r>
          <a:r>
            <a:rPr lang="de-DE" sz="1400" b="1" dirty="0">
              <a:solidFill>
                <a:srgbClr val="C00000"/>
              </a:solidFill>
              <a:latin typeface="Amalia" panose="020B0504020203020204" pitchFamily="34" charset="0"/>
            </a:rPr>
            <a:t>0,5 % p.a.	0,3 % p.a.</a:t>
          </a:r>
        </a:p>
        <a:p xmlns:a="http://schemas.openxmlformats.org/drawingml/2006/main">
          <a:pPr algn="l"/>
          <a:r>
            <a:rPr lang="de-DE" sz="1400" b="1" dirty="0">
              <a:solidFill>
                <a:schemeClr val="tx1">
                  <a:lumMod val="65000"/>
                  <a:lumOff val="35000"/>
                </a:schemeClr>
              </a:solidFill>
              <a:latin typeface="Amalia" panose="020B0504020203020204" pitchFamily="34" charset="0"/>
            </a:rPr>
            <a:t>2024f	</a:t>
          </a:r>
          <a:r>
            <a:rPr lang="de-DE" sz="1400" b="1" dirty="0">
              <a:solidFill>
                <a:srgbClr val="00B050"/>
              </a:solidFill>
              <a:latin typeface="Amalia" panose="020B0504020203020204" pitchFamily="34" charset="0"/>
            </a:rPr>
            <a:t>1,8 % p.a.	2,0 % p.a. </a:t>
          </a:r>
          <a:endParaRPr lang="de-AT" sz="1400" b="1" dirty="0">
            <a:solidFill>
              <a:srgbClr val="00B050"/>
            </a:solidFill>
            <a:latin typeface="Amalia" panose="020B0504020203020204" pitchFamily="34" charset="0"/>
          </a:endParaRPr>
        </a:p>
      </cdr:txBody>
    </cdr:sp>
  </cdr:relSizeAnchor>
  <cdr:relSizeAnchor xmlns:cdr="http://schemas.openxmlformats.org/drawingml/2006/chartDrawing">
    <cdr:from>
      <cdr:x>0.4807</cdr:x>
      <cdr:y>0.5262</cdr:y>
    </cdr:from>
    <cdr:to>
      <cdr:x>0.68509</cdr:x>
      <cdr:y>0.66394</cdr:y>
    </cdr:to>
    <cdr:sp macro="" textlink="">
      <cdr:nvSpPr>
        <cdr:cNvPr id="6" name="Ellipse 5">
          <a:extLst xmlns:a="http://schemas.openxmlformats.org/drawingml/2006/main">
            <a:ext uri="{FF2B5EF4-FFF2-40B4-BE49-F238E27FC236}">
              <a16:creationId xmlns:a16="http://schemas.microsoft.com/office/drawing/2014/main" id="{744B3EF5-6616-4A6D-ABBD-7F6CAFF9EBA6}"/>
            </a:ext>
          </a:extLst>
        </cdr:cNvPr>
        <cdr:cNvSpPr/>
      </cdr:nvSpPr>
      <cdr:spPr bwMode="gray">
        <a:xfrm xmlns:a="http://schemas.openxmlformats.org/drawingml/2006/main">
          <a:off x="2925785" y="2362200"/>
          <a:ext cx="1244014" cy="618339"/>
        </a:xfrm>
        <a:prstGeom xmlns:a="http://schemas.openxmlformats.org/drawingml/2006/main" prst="ellipse">
          <a:avLst/>
        </a:prstGeom>
        <a:noFill xmlns:a="http://schemas.openxmlformats.org/drawingml/2006/main"/>
        <a:ln xmlns:a="http://schemas.openxmlformats.org/drawingml/2006/main" w="19050">
          <a:solidFill>
            <a:schemeClr val="accent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de-DE"/>
        </a:p>
      </cdr:txBody>
    </cdr:sp>
  </cdr:relSizeAnchor>
  <cdr:relSizeAnchor xmlns:cdr="http://schemas.openxmlformats.org/drawingml/2006/chartDrawing">
    <cdr:from>
      <cdr:x>0.13891</cdr:x>
      <cdr:y>0.14262</cdr:y>
    </cdr:from>
    <cdr:to>
      <cdr:x>0.34637</cdr:x>
      <cdr:y>0.18953</cdr:y>
    </cdr:to>
    <cdr:sp macro="" textlink="">
      <cdr:nvSpPr>
        <cdr:cNvPr id="2" name="Textfeld 1">
          <a:extLst xmlns:a="http://schemas.openxmlformats.org/drawingml/2006/main">
            <a:ext uri="{FF2B5EF4-FFF2-40B4-BE49-F238E27FC236}">
              <a16:creationId xmlns:a16="http://schemas.microsoft.com/office/drawing/2014/main" id="{A328815A-D64D-4E14-A78A-675353E81974}"/>
            </a:ext>
          </a:extLst>
        </cdr:cNvPr>
        <cdr:cNvSpPr txBox="1"/>
      </cdr:nvSpPr>
      <cdr:spPr bwMode="gray">
        <a:xfrm xmlns:a="http://schemas.openxmlformats.org/drawingml/2006/main">
          <a:off x="845457" y="748620"/>
          <a:ext cx="1262743" cy="246221"/>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600" b="1" dirty="0">
              <a:solidFill>
                <a:schemeClr val="tx1">
                  <a:lumMod val="65000"/>
                  <a:lumOff val="35000"/>
                </a:schemeClr>
              </a:solidFill>
              <a:latin typeface="Amalia" panose="020B0504020203020204" pitchFamily="34" charset="0"/>
            </a:rPr>
            <a:t>Österreich</a:t>
          </a:r>
          <a:endParaRPr lang="de-AT" sz="1600" b="1" dirty="0" err="1">
            <a:solidFill>
              <a:schemeClr val="tx1">
                <a:lumMod val="65000"/>
                <a:lumOff val="35000"/>
              </a:schemeClr>
            </a:solidFill>
            <a:latin typeface="Amalia" panose="020B0504020203020204" pitchFamily="34" charset="0"/>
          </a:endParaRPr>
        </a:p>
      </cdr:txBody>
    </cdr:sp>
  </cdr:relSizeAnchor>
  <cdr:relSizeAnchor xmlns:cdr="http://schemas.openxmlformats.org/drawingml/2006/chartDrawing">
    <cdr:from>
      <cdr:x>0.06677</cdr:x>
      <cdr:y>0.38446</cdr:y>
    </cdr:from>
    <cdr:to>
      <cdr:x>0.27424</cdr:x>
      <cdr:y>0.43137</cdr:y>
    </cdr:to>
    <cdr:sp macro="" textlink="">
      <cdr:nvSpPr>
        <cdr:cNvPr id="7" name="Textfeld 1">
          <a:extLst xmlns:a="http://schemas.openxmlformats.org/drawingml/2006/main">
            <a:ext uri="{FF2B5EF4-FFF2-40B4-BE49-F238E27FC236}">
              <a16:creationId xmlns:a16="http://schemas.microsoft.com/office/drawing/2014/main" id="{C5618100-BB8A-4627-9A4D-76EBF1F3A5BC}"/>
            </a:ext>
          </a:extLst>
        </cdr:cNvPr>
        <cdr:cNvSpPr txBox="1"/>
      </cdr:nvSpPr>
      <cdr:spPr bwMode="gray">
        <a:xfrm xmlns:a="http://schemas.openxmlformats.org/drawingml/2006/main">
          <a:off x="406399" y="2018007"/>
          <a:ext cx="1262743" cy="246221"/>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de-DE" sz="1600" b="1" dirty="0">
              <a:solidFill>
                <a:schemeClr val="accent1"/>
              </a:solidFill>
              <a:latin typeface="Amalia" panose="020B0504020203020204" pitchFamily="34" charset="0"/>
            </a:rPr>
            <a:t>Eurozone</a:t>
          </a:r>
          <a:endParaRPr lang="de-AT" sz="1600" b="1" dirty="0" err="1">
            <a:solidFill>
              <a:schemeClr val="accent1"/>
            </a:solidFill>
            <a:latin typeface="Amalia" panose="020B0504020203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97974</cdr:x>
      <cdr:y>0.20312</cdr:y>
    </cdr:from>
    <cdr:to>
      <cdr:x>0.99308</cdr:x>
      <cdr:y>0.40005</cdr:y>
    </cdr:to>
    <cdr:cxnSp macro="">
      <cdr:nvCxnSpPr>
        <cdr:cNvPr id="3" name="Gerade Verbindung mit Pfeil 2">
          <a:extLst xmlns:a="http://schemas.openxmlformats.org/drawingml/2006/main">
            <a:ext uri="{FF2B5EF4-FFF2-40B4-BE49-F238E27FC236}">
              <a16:creationId xmlns:a16="http://schemas.microsoft.com/office/drawing/2014/main" id="{2FF4065D-1FE9-4775-98B2-7F63FF4B2C45}"/>
            </a:ext>
          </a:extLst>
        </cdr:cNvPr>
        <cdr:cNvCxnSpPr/>
      </cdr:nvCxnSpPr>
      <cdr:spPr bwMode="gray">
        <a:xfrm xmlns:a="http://schemas.openxmlformats.org/drawingml/2006/main" flipV="1">
          <a:off x="12281693" y="1069659"/>
          <a:ext cx="167269" cy="1037063"/>
        </a:xfrm>
        <a:prstGeom xmlns:a="http://schemas.openxmlformats.org/drawingml/2006/main" prst="straightConnector1">
          <a:avLst/>
        </a:prstGeom>
        <a:ln xmlns:a="http://schemas.openxmlformats.org/drawingml/2006/main" w="31750">
          <a:solidFill>
            <a:srgbClr val="FF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2B09697-3DC8-459F-A424-5537DC821292}"/>
              </a:ext>
            </a:extLst>
          </p:cNvPr>
          <p:cNvSpPr>
            <a:spLocks noGrp="1"/>
          </p:cNvSpPr>
          <p:nvPr>
            <p:ph type="hdr" sz="quarter"/>
          </p:nvPr>
        </p:nvSpPr>
        <p:spPr bwMode="gray">
          <a:xfrm>
            <a:off x="1" y="1"/>
            <a:ext cx="2945659" cy="498056"/>
          </a:xfrm>
          <a:prstGeom prst="rect">
            <a:avLst/>
          </a:prstGeom>
        </p:spPr>
        <p:txBody>
          <a:bodyPr vert="horz" lIns="91432" tIns="45716" rIns="91432" bIns="45716" rtlCol="0"/>
          <a:lstStyle>
            <a:lvl1pPr algn="l">
              <a:defRPr sz="1200"/>
            </a:lvl1pPr>
          </a:lstStyle>
          <a:p>
            <a:endParaRPr lang="en-US" sz="1000"/>
          </a:p>
        </p:txBody>
      </p:sp>
      <p:sp>
        <p:nvSpPr>
          <p:cNvPr id="3" name="Date Placeholder 2">
            <a:extLst>
              <a:ext uri="{FF2B5EF4-FFF2-40B4-BE49-F238E27FC236}">
                <a16:creationId xmlns:a16="http://schemas.microsoft.com/office/drawing/2014/main" id="{9D11C9D6-CB8C-492D-AD3C-9F196A7BBC8F}"/>
              </a:ext>
            </a:extLst>
          </p:cNvPr>
          <p:cNvSpPr>
            <a:spLocks noGrp="1"/>
          </p:cNvSpPr>
          <p:nvPr>
            <p:ph type="dt" sz="quarter" idx="1"/>
          </p:nvPr>
        </p:nvSpPr>
        <p:spPr bwMode="gray">
          <a:xfrm>
            <a:off x="3850444" y="1"/>
            <a:ext cx="2945659" cy="498056"/>
          </a:xfrm>
          <a:prstGeom prst="rect">
            <a:avLst/>
          </a:prstGeom>
        </p:spPr>
        <p:txBody>
          <a:bodyPr vert="horz" lIns="91432" tIns="45716" rIns="91432" bIns="45716" rtlCol="0"/>
          <a:lstStyle>
            <a:lvl1pPr algn="r">
              <a:defRPr sz="1200"/>
            </a:lvl1pPr>
          </a:lstStyle>
          <a:p>
            <a:fld id="{99ADA642-7B79-4664-9DA4-A947E042A437}" type="datetimeFigureOut">
              <a:rPr lang="en-US" sz="1000"/>
              <a:t>1/17/2023</a:t>
            </a:fld>
            <a:endParaRPr lang="en-US" sz="1000"/>
          </a:p>
        </p:txBody>
      </p:sp>
      <p:sp>
        <p:nvSpPr>
          <p:cNvPr id="4" name="Footer Placeholder 3">
            <a:extLst>
              <a:ext uri="{FF2B5EF4-FFF2-40B4-BE49-F238E27FC236}">
                <a16:creationId xmlns:a16="http://schemas.microsoft.com/office/drawing/2014/main" id="{46883E90-69E7-4731-846B-B609B52ED93D}"/>
              </a:ext>
            </a:extLst>
          </p:cNvPr>
          <p:cNvSpPr>
            <a:spLocks noGrp="1"/>
          </p:cNvSpPr>
          <p:nvPr>
            <p:ph type="ftr" sz="quarter" idx="2"/>
          </p:nvPr>
        </p:nvSpPr>
        <p:spPr bwMode="gray">
          <a:xfrm>
            <a:off x="1" y="9428585"/>
            <a:ext cx="2945659" cy="498055"/>
          </a:xfrm>
          <a:prstGeom prst="rect">
            <a:avLst/>
          </a:prstGeom>
        </p:spPr>
        <p:txBody>
          <a:bodyPr vert="horz" lIns="91432" tIns="45716" rIns="91432" bIns="45716" rtlCol="0" anchor="b"/>
          <a:lstStyle>
            <a:lvl1pPr algn="l">
              <a:defRPr sz="1200"/>
            </a:lvl1pPr>
          </a:lstStyle>
          <a:p>
            <a:endParaRPr lang="en-US" sz="1000"/>
          </a:p>
        </p:txBody>
      </p:sp>
      <p:sp>
        <p:nvSpPr>
          <p:cNvPr id="5" name="Slide Number Placeholder 4">
            <a:extLst>
              <a:ext uri="{FF2B5EF4-FFF2-40B4-BE49-F238E27FC236}">
                <a16:creationId xmlns:a16="http://schemas.microsoft.com/office/drawing/2014/main" id="{E9FE2879-60E3-4273-87D2-F5B39D244BD4}"/>
              </a:ext>
            </a:extLst>
          </p:cNvPr>
          <p:cNvSpPr>
            <a:spLocks noGrp="1"/>
          </p:cNvSpPr>
          <p:nvPr>
            <p:ph type="sldNum" sz="quarter" idx="3"/>
          </p:nvPr>
        </p:nvSpPr>
        <p:spPr bwMode="gray">
          <a:xfrm>
            <a:off x="3850444" y="9428585"/>
            <a:ext cx="2945659" cy="498055"/>
          </a:xfrm>
          <a:prstGeom prst="rect">
            <a:avLst/>
          </a:prstGeom>
        </p:spPr>
        <p:txBody>
          <a:bodyPr vert="horz" lIns="91432" tIns="45716" rIns="91432" bIns="45716" rtlCol="0" anchor="b"/>
          <a:lstStyle>
            <a:lvl1pPr algn="r">
              <a:defRPr sz="1200"/>
            </a:lvl1pPr>
          </a:lstStyle>
          <a:p>
            <a:fld id="{36235001-C1C8-45D4-9FA3-5A085C63A5FE}" type="slidenum">
              <a:rPr lang="en-US" sz="1000"/>
              <a:t>‹Nr.›</a:t>
            </a:fld>
            <a:endParaRPr lang="en-US" sz="1000"/>
          </a:p>
        </p:txBody>
      </p:sp>
    </p:spTree>
    <p:extLst>
      <p:ext uri="{BB962C8B-B14F-4D97-AF65-F5344CB8AC3E}">
        <p14:creationId xmlns:p14="http://schemas.microsoft.com/office/powerpoint/2010/main" val="1049027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1" y="1"/>
            <a:ext cx="2945659" cy="498056"/>
          </a:xfrm>
          <a:prstGeom prst="rect">
            <a:avLst/>
          </a:prstGeom>
        </p:spPr>
        <p:txBody>
          <a:bodyPr vert="horz" lIns="91432" tIns="45716" rIns="91432" bIns="45716" rtlCol="0"/>
          <a:lstStyle>
            <a:lvl1pPr algn="l">
              <a:defRPr sz="1000"/>
            </a:lvl1pPr>
          </a:lstStyle>
          <a:p>
            <a:endParaRPr lang="en-GB"/>
          </a:p>
        </p:txBody>
      </p:sp>
      <p:sp>
        <p:nvSpPr>
          <p:cNvPr id="3" name="Date Placeholder 2"/>
          <p:cNvSpPr>
            <a:spLocks noGrp="1"/>
          </p:cNvSpPr>
          <p:nvPr>
            <p:ph type="dt" idx="1"/>
          </p:nvPr>
        </p:nvSpPr>
        <p:spPr bwMode="gray">
          <a:xfrm>
            <a:off x="3850444" y="1"/>
            <a:ext cx="2945659" cy="498056"/>
          </a:xfrm>
          <a:prstGeom prst="rect">
            <a:avLst/>
          </a:prstGeom>
        </p:spPr>
        <p:txBody>
          <a:bodyPr vert="horz" lIns="91432" tIns="45716" rIns="91432" bIns="45716" rtlCol="0"/>
          <a:lstStyle>
            <a:lvl1pPr algn="r">
              <a:defRPr sz="1000"/>
            </a:lvl1pPr>
          </a:lstStyle>
          <a:p>
            <a:fld id="{F301697D-CE2C-473B-9F50-AF6F1D9B7316}" type="datetimeFigureOut">
              <a:rPr lang="en-GB" smtClean="0"/>
              <a:pPr/>
              <a:t>17/01/2023</a:t>
            </a:fld>
            <a:endParaRPr lang="en-GB"/>
          </a:p>
        </p:txBody>
      </p:sp>
      <p:sp>
        <p:nvSpPr>
          <p:cNvPr id="4" name="Slide Image Placeholder 3"/>
          <p:cNvSpPr>
            <a:spLocks noGrp="1" noRot="1" noChangeAspect="1"/>
          </p:cNvSpPr>
          <p:nvPr>
            <p:ph type="sldImg" idx="2"/>
          </p:nvPr>
        </p:nvSpPr>
        <p:spPr bwMode="gray">
          <a:xfrm>
            <a:off x="117475" y="898525"/>
            <a:ext cx="6562725" cy="3692525"/>
          </a:xfrm>
          <a:prstGeom prst="rect">
            <a:avLst/>
          </a:prstGeom>
          <a:noFill/>
          <a:ln w="6350">
            <a:solidFill>
              <a:schemeClr val="accent4"/>
            </a:solidFill>
          </a:ln>
        </p:spPr>
        <p:txBody>
          <a:bodyPr vert="horz" lIns="91432" tIns="45716" rIns="91432" bIns="45716" rtlCol="0" anchor="ctr"/>
          <a:lstStyle/>
          <a:p>
            <a:endParaRPr lang="en-GB"/>
          </a:p>
        </p:txBody>
      </p:sp>
      <p:sp>
        <p:nvSpPr>
          <p:cNvPr id="5" name="Notes Placeholder 4"/>
          <p:cNvSpPr>
            <a:spLocks noGrp="1"/>
          </p:cNvSpPr>
          <p:nvPr>
            <p:ph type="body" sz="quarter" idx="3"/>
          </p:nvPr>
        </p:nvSpPr>
        <p:spPr bwMode="gray">
          <a:xfrm>
            <a:off x="1014143" y="4777194"/>
            <a:ext cx="4769388" cy="3908614"/>
          </a:xfrm>
          <a:prstGeom prst="rect">
            <a:avLst/>
          </a:prstGeom>
        </p:spPr>
        <p:txBody>
          <a:bodyPr vert="horz" lIns="91432" tIns="45716" rIns="91432" bIns="4571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bwMode="gray">
          <a:xfrm>
            <a:off x="1" y="9428585"/>
            <a:ext cx="2945659" cy="498055"/>
          </a:xfrm>
          <a:prstGeom prst="rect">
            <a:avLst/>
          </a:prstGeom>
        </p:spPr>
        <p:txBody>
          <a:bodyPr vert="horz" lIns="91432" tIns="45716" rIns="91432" bIns="45716" rtlCol="0" anchor="b"/>
          <a:lstStyle>
            <a:lvl1pPr algn="l">
              <a:defRPr sz="1000"/>
            </a:lvl1pPr>
          </a:lstStyle>
          <a:p>
            <a:endParaRPr lang="en-GB"/>
          </a:p>
        </p:txBody>
      </p:sp>
      <p:sp>
        <p:nvSpPr>
          <p:cNvPr id="7" name="Slide Number Placeholder 6"/>
          <p:cNvSpPr>
            <a:spLocks noGrp="1"/>
          </p:cNvSpPr>
          <p:nvPr>
            <p:ph type="sldNum" sz="quarter" idx="5"/>
          </p:nvPr>
        </p:nvSpPr>
        <p:spPr bwMode="gray">
          <a:xfrm>
            <a:off x="3850444" y="9428585"/>
            <a:ext cx="2945659" cy="498055"/>
          </a:xfrm>
          <a:prstGeom prst="rect">
            <a:avLst/>
          </a:prstGeom>
        </p:spPr>
        <p:txBody>
          <a:bodyPr vert="horz" lIns="91432" tIns="45716" rIns="91432" bIns="45716" rtlCol="0" anchor="b"/>
          <a:lstStyle>
            <a:lvl1pPr algn="r">
              <a:defRPr sz="1000"/>
            </a:lvl1pPr>
          </a:lstStyle>
          <a:p>
            <a:fld id="{DBF5D94C-D8BB-4897-AC52-C11BF87FF59A}" type="slidenum">
              <a:rPr lang="en-GB" smtClean="0"/>
              <a:pPr/>
              <a:t>‹Nr.›</a:t>
            </a:fld>
            <a:endParaRPr lang="en-GB"/>
          </a:p>
        </p:txBody>
      </p:sp>
    </p:spTree>
    <p:extLst>
      <p:ext uri="{BB962C8B-B14F-4D97-AF65-F5344CB8AC3E}">
        <p14:creationId xmlns:p14="http://schemas.microsoft.com/office/powerpoint/2010/main" val="4240912970"/>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000" b="1" kern="1200">
        <a:solidFill>
          <a:schemeClr val="tx1"/>
        </a:solidFill>
        <a:latin typeface="+mn-lt"/>
        <a:ea typeface="+mn-ea"/>
        <a:cs typeface="+mn-cs"/>
      </a:defRPr>
    </a:lvl1pPr>
    <a:lvl2pPr marL="0" algn="l" defTabSz="914400" rtl="0" eaLnBrk="1" latinLnBrk="0" hangingPunct="1">
      <a:spcAft>
        <a:spcPts val="600"/>
      </a:spcAft>
      <a:defRPr sz="1000" kern="1200">
        <a:solidFill>
          <a:schemeClr val="tx1"/>
        </a:solidFill>
        <a:latin typeface="+mn-lt"/>
        <a:ea typeface="+mn-ea"/>
        <a:cs typeface="+mn-cs"/>
      </a:defRPr>
    </a:lvl2pPr>
    <a:lvl3pPr marL="180000" indent="-180000" algn="l" defTabSz="914400" rtl="0" eaLnBrk="1" latinLnBrk="0" hangingPunct="1">
      <a:spcAft>
        <a:spcPts val="600"/>
      </a:spcAft>
      <a:buClr>
        <a:schemeClr val="accent2"/>
      </a:buClr>
      <a:buFont typeface="Wingdings" panose="05000000000000000000" pitchFamily="2" charset="2"/>
      <a:buChar char="§"/>
      <a:defRPr sz="1000" kern="1200">
        <a:solidFill>
          <a:schemeClr val="tx1"/>
        </a:solidFill>
        <a:latin typeface="+mn-lt"/>
        <a:ea typeface="+mn-ea"/>
        <a:cs typeface="+mn-cs"/>
      </a:defRPr>
    </a:lvl3pPr>
    <a:lvl4pPr marL="360000" indent="-180000" algn="l" defTabSz="914400" rtl="0" eaLnBrk="1" latinLnBrk="0" hangingPunct="1">
      <a:spcAft>
        <a:spcPts val="600"/>
      </a:spcAft>
      <a:buClr>
        <a:schemeClr val="accent2"/>
      </a:buClr>
      <a:buFont typeface="Century Gothic" panose="020B0502020202020204" pitchFamily="34" charset="0"/>
      <a:buChar char="–"/>
      <a:defRPr sz="1000" kern="1200">
        <a:solidFill>
          <a:schemeClr val="tx1"/>
        </a:solidFill>
        <a:latin typeface="+mn-lt"/>
        <a:ea typeface="+mn-ea"/>
        <a:cs typeface="+mn-cs"/>
      </a:defRPr>
    </a:lvl4pPr>
    <a:lvl5pPr marL="360000" indent="-180000" algn="l" defTabSz="914400" rtl="0" eaLnBrk="1" latinLnBrk="0" hangingPunct="1">
      <a:spcAft>
        <a:spcPts val="600"/>
      </a:spcAft>
      <a:buClr>
        <a:schemeClr val="accent2"/>
      </a:buClr>
      <a:buFont typeface="Century Gothic" panose="020B0502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BF5D94C-D8BB-4897-AC52-C11BF87FF59A}" type="slidenum">
              <a:rPr lang="en-GB" smtClean="0"/>
              <a:pPr/>
              <a:t>1</a:t>
            </a:fld>
            <a:endParaRPr lang="en-GB"/>
          </a:p>
        </p:txBody>
      </p:sp>
    </p:spTree>
    <p:extLst>
      <p:ext uri="{BB962C8B-B14F-4D97-AF65-F5344CB8AC3E}">
        <p14:creationId xmlns:p14="http://schemas.microsoft.com/office/powerpoint/2010/main" val="3919485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BF5D94C-D8BB-4897-AC52-C11BF87FF59A}" type="slidenum">
              <a:rPr lang="en-GB" smtClean="0"/>
              <a:pPr/>
              <a:t>10</a:t>
            </a:fld>
            <a:endParaRPr lang="en-GB"/>
          </a:p>
        </p:txBody>
      </p:sp>
    </p:spTree>
    <p:extLst>
      <p:ext uri="{BB962C8B-B14F-4D97-AF65-F5344CB8AC3E}">
        <p14:creationId xmlns:p14="http://schemas.microsoft.com/office/powerpoint/2010/main" val="1730652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BF5D94C-D8BB-4897-AC52-C11BF87FF59A}" type="slidenum">
              <a:rPr lang="en-GB" smtClean="0"/>
              <a:pPr/>
              <a:t>13</a:t>
            </a:fld>
            <a:endParaRPr lang="en-GB"/>
          </a:p>
        </p:txBody>
      </p:sp>
    </p:spTree>
    <p:extLst>
      <p:ext uri="{BB962C8B-B14F-4D97-AF65-F5344CB8AC3E}">
        <p14:creationId xmlns:p14="http://schemas.microsoft.com/office/powerpoint/2010/main" val="1463402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5906" name="Rectangle 2"/>
          <p:cNvSpPr>
            <a:spLocks noGrp="1" noRot="1" noChangeAspect="1" noChangeArrowheads="1" noTextEdit="1"/>
          </p:cNvSpPr>
          <p:nvPr>
            <p:ph type="sldImg"/>
          </p:nvPr>
        </p:nvSpPr>
        <p:spPr>
          <a:xfrm>
            <a:off x="-219075" y="808038"/>
            <a:ext cx="7175500" cy="4037012"/>
          </a:xfrm>
          <a:ln/>
        </p:spPr>
      </p:sp>
      <p:sp>
        <p:nvSpPr>
          <p:cNvPr id="5755907" name="Rectangle 3"/>
          <p:cNvSpPr>
            <a:spLocks noGrp="1" noChangeArrowheads="1"/>
          </p:cNvSpPr>
          <p:nvPr>
            <p:ph type="body" idx="1"/>
          </p:nvPr>
        </p:nvSpPr>
        <p:spPr>
          <a:xfrm>
            <a:off x="898917" y="5120456"/>
            <a:ext cx="4940063" cy="4847591"/>
          </a:xfrm>
        </p:spPr>
        <p:txBody>
          <a:bodyPr/>
          <a:lstStyle/>
          <a:p>
            <a:endParaRPr lang="de-AT"/>
          </a:p>
        </p:txBody>
      </p:sp>
    </p:spTree>
    <p:extLst>
      <p:ext uri="{BB962C8B-B14F-4D97-AF65-F5344CB8AC3E}">
        <p14:creationId xmlns:p14="http://schemas.microsoft.com/office/powerpoint/2010/main" val="1247105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5906" name="Rectangle 2"/>
          <p:cNvSpPr>
            <a:spLocks noGrp="1" noRot="1" noChangeAspect="1" noChangeArrowheads="1" noTextEdit="1"/>
          </p:cNvSpPr>
          <p:nvPr>
            <p:ph type="sldImg"/>
          </p:nvPr>
        </p:nvSpPr>
        <p:spPr>
          <a:xfrm>
            <a:off x="-219075" y="808038"/>
            <a:ext cx="7175500" cy="4037012"/>
          </a:xfrm>
          <a:ln/>
        </p:spPr>
      </p:sp>
      <p:sp>
        <p:nvSpPr>
          <p:cNvPr id="5755907" name="Rectangle 3"/>
          <p:cNvSpPr>
            <a:spLocks noGrp="1" noChangeArrowheads="1"/>
          </p:cNvSpPr>
          <p:nvPr>
            <p:ph type="body" idx="1"/>
          </p:nvPr>
        </p:nvSpPr>
        <p:spPr>
          <a:xfrm>
            <a:off x="898917" y="5120456"/>
            <a:ext cx="4940063" cy="4847591"/>
          </a:xfrm>
        </p:spPr>
        <p:txBody>
          <a:bodyPr/>
          <a:lstStyle/>
          <a:p>
            <a:endParaRPr lang="de-AT"/>
          </a:p>
        </p:txBody>
      </p:sp>
    </p:spTree>
    <p:extLst>
      <p:ext uri="{BB962C8B-B14F-4D97-AF65-F5344CB8AC3E}">
        <p14:creationId xmlns:p14="http://schemas.microsoft.com/office/powerpoint/2010/main" val="663020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5906" name="Rectangle 2"/>
          <p:cNvSpPr>
            <a:spLocks noGrp="1" noRot="1" noChangeAspect="1" noChangeArrowheads="1" noTextEdit="1"/>
          </p:cNvSpPr>
          <p:nvPr>
            <p:ph type="sldImg"/>
          </p:nvPr>
        </p:nvSpPr>
        <p:spPr>
          <a:xfrm>
            <a:off x="-219075" y="808038"/>
            <a:ext cx="7175500" cy="4037012"/>
          </a:xfrm>
          <a:ln/>
        </p:spPr>
      </p:sp>
      <p:sp>
        <p:nvSpPr>
          <p:cNvPr id="5755907" name="Rectangle 3"/>
          <p:cNvSpPr>
            <a:spLocks noGrp="1" noChangeArrowheads="1"/>
          </p:cNvSpPr>
          <p:nvPr>
            <p:ph type="body" idx="1"/>
          </p:nvPr>
        </p:nvSpPr>
        <p:spPr>
          <a:xfrm>
            <a:off x="898917" y="5120456"/>
            <a:ext cx="4940063" cy="4847591"/>
          </a:xfrm>
        </p:spPr>
        <p:txBody>
          <a:bodyPr/>
          <a:lstStyle/>
          <a:p>
            <a:endParaRPr lang="de-AT"/>
          </a:p>
        </p:txBody>
      </p:sp>
    </p:spTree>
    <p:extLst>
      <p:ext uri="{BB962C8B-B14F-4D97-AF65-F5344CB8AC3E}">
        <p14:creationId xmlns:p14="http://schemas.microsoft.com/office/powerpoint/2010/main" val="32768129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jpeg"/><Relationship Id="rId12"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9.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userDrawn="1">
            <p:custDataLst>
              <p:tags r:id="rId2"/>
            </p:custDataLst>
            <p:extLst>
              <p:ext uri="{D42A27DB-BD31-4B8C-83A1-F6EECF244321}">
                <p14:modId xmlns:p14="http://schemas.microsoft.com/office/powerpoint/2010/main" val="2471709497"/>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2052" name="think-cell Slide" r:id="rId5" imgW="351" imgH="351" progId="TCLayout.ActiveDocument.1">
                  <p:embed/>
                </p:oleObj>
              </mc:Choice>
              <mc:Fallback>
                <p:oleObj name="think-cell Slide" r:id="rId5"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6"/>
                      <a:stretch>
                        <a:fillRect/>
                      </a:stretch>
                    </p:blipFill>
                    <p:spPr>
                      <a:xfrm>
                        <a:off x="1998" y="1588"/>
                        <a:ext cx="199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52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2" y="0"/>
            <a:ext cx="1344295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634630" y="5869785"/>
            <a:ext cx="10525254" cy="1048545"/>
          </a:xfrm>
        </p:spPr>
        <p:txBody>
          <a:bodyPr lIns="216000" rIns="216000" anchor="t" anchorCtr="0"/>
          <a:lstStyle>
            <a:lvl1pPr marL="0" indent="0" algn="l">
              <a:buNone/>
              <a:defRPr sz="2011" b="0">
                <a:latin typeface="Amalia" panose="020B0504020203020204" pitchFamily="34" charset="0"/>
              </a:defRPr>
            </a:lvl1pPr>
            <a:lvl2pPr marL="0" indent="0" algn="l">
              <a:buNone/>
              <a:defRPr sz="2011">
                <a:solidFill>
                  <a:schemeClr val="tx1"/>
                </a:solidFill>
              </a:defRPr>
            </a:lvl2pPr>
            <a:lvl3pPr marL="0" indent="0" algn="l">
              <a:buNone/>
              <a:defRPr sz="2011">
                <a:solidFill>
                  <a:schemeClr val="tx1"/>
                </a:solidFill>
              </a:defRPr>
            </a:lvl3pPr>
            <a:lvl4pPr marL="0" indent="0" algn="l">
              <a:buNone/>
              <a:defRPr sz="2011">
                <a:solidFill>
                  <a:schemeClr val="tx1"/>
                </a:solidFill>
              </a:defRPr>
            </a:lvl4pPr>
            <a:lvl5pPr marL="0" indent="0" algn="l">
              <a:buNone/>
              <a:defRPr sz="2011">
                <a:solidFill>
                  <a:schemeClr val="tx1"/>
                </a:solidFill>
              </a:defRPr>
            </a:lvl5pPr>
            <a:lvl6pPr marL="0" indent="0" algn="l">
              <a:buNone/>
              <a:defRPr sz="2011">
                <a:solidFill>
                  <a:schemeClr val="tx1"/>
                </a:solidFill>
              </a:defRPr>
            </a:lvl6pPr>
            <a:lvl7pPr marL="0" indent="0" algn="l">
              <a:buNone/>
              <a:defRPr sz="2011">
                <a:solidFill>
                  <a:schemeClr val="tx1"/>
                </a:solidFill>
              </a:defRPr>
            </a:lvl7pPr>
            <a:lvl8pPr marL="0" indent="0" algn="l">
              <a:buNone/>
              <a:defRPr sz="2011">
                <a:solidFill>
                  <a:schemeClr val="tx1"/>
                </a:solidFill>
              </a:defRPr>
            </a:lvl8pPr>
            <a:lvl9pPr marL="0" indent="0" algn="l">
              <a:buNone/>
              <a:defRPr sz="2011">
                <a:solidFill>
                  <a:schemeClr val="tx1"/>
                </a:solidFill>
              </a:defRPr>
            </a:lvl9pPr>
          </a:lstStyle>
          <a:p>
            <a:pPr lvl="0"/>
            <a:r>
              <a:rPr lang="de-DE"/>
              <a:t>Master-Untertitelformat bearbeiten</a:t>
            </a:r>
            <a:endParaRPr lang="en-US"/>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userDrawn="1"/>
        </p:nvCxnSpPr>
        <p:spPr bwMode="gray">
          <a:xfrm>
            <a:off x="2" y="438150"/>
            <a:ext cx="134429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Grafik 6">
            <a:extLst>
              <a:ext uri="{FF2B5EF4-FFF2-40B4-BE49-F238E27FC236}">
                <a16:creationId xmlns:a16="http://schemas.microsoft.com/office/drawing/2014/main" id="{71B8DBAA-EB2A-4477-882A-40F7F00B69C4}"/>
              </a:ext>
            </a:extLst>
          </p:cNvPr>
          <p:cNvPicPr>
            <a:picLocks noChangeAspect="1"/>
          </p:cNvPicPr>
          <p:nvPr userDrawn="1"/>
        </p:nvPicPr>
        <p:blipFill rotWithShape="1">
          <a:blip r:embed="rId7"/>
          <a:srcRect t="19623"/>
          <a:stretch/>
        </p:blipFill>
        <p:spPr>
          <a:xfrm>
            <a:off x="-1" y="4486409"/>
            <a:ext cx="8082208" cy="3074851"/>
          </a:xfrm>
          <a:prstGeom prst="rect">
            <a:avLst/>
          </a:prstGeom>
        </p:spPr>
      </p:pic>
      <p:pic>
        <p:nvPicPr>
          <p:cNvPr id="15" name="Grafik 1">
            <a:extLst>
              <a:ext uri="{FF2B5EF4-FFF2-40B4-BE49-F238E27FC236}">
                <a16:creationId xmlns:a16="http://schemas.microsoft.com/office/drawing/2014/main" id="{433A3CAD-0B1A-497A-8060-F9FC60B75A46}"/>
              </a:ext>
            </a:extLst>
          </p:cNvPr>
          <p:cNvPicPr>
            <a:picLocks noChangeAspect="1"/>
          </p:cNvPicPr>
          <p:nvPr userDrawn="1"/>
        </p:nvPicPr>
        <p:blipFill>
          <a:blip r:embed="rId8"/>
          <a:stretch>
            <a:fillRect/>
          </a:stretch>
        </p:blipFill>
        <p:spPr>
          <a:xfrm>
            <a:off x="0" y="500392"/>
            <a:ext cx="8091198" cy="3986017"/>
          </a:xfrm>
          <a:prstGeom prst="rect">
            <a:avLst/>
          </a:prstGeom>
        </p:spPr>
      </p:pic>
      <p:pic>
        <p:nvPicPr>
          <p:cNvPr id="13" name="Picture 19">
            <a:extLst>
              <a:ext uri="{FF2B5EF4-FFF2-40B4-BE49-F238E27FC236}">
                <a16:creationId xmlns:a16="http://schemas.microsoft.com/office/drawing/2014/main" id="{392D479B-7D9C-4CDC-8367-6EEB26A5BE67}"/>
              </a:ext>
            </a:extLst>
          </p:cNvPr>
          <p:cNvPicPr>
            <a:picLocks noChangeAspect="1"/>
          </p:cNvPicPr>
          <p:nvPr userDrawn="1"/>
        </p:nvPicPr>
        <p:blipFill>
          <a:blip r:embed="rId9"/>
          <a:srcRect/>
          <a:stretch/>
        </p:blipFill>
        <p:spPr>
          <a:xfrm>
            <a:off x="11976169" y="10136"/>
            <a:ext cx="1385840" cy="365075"/>
          </a:xfrm>
          <a:prstGeom prst="rect">
            <a:avLst/>
          </a:prstGeom>
        </p:spPr>
      </p:pic>
      <p:sp>
        <p:nvSpPr>
          <p:cNvPr id="2" name="Title 1">
            <a:extLst>
              <a:ext uri="{FF2B5EF4-FFF2-40B4-BE49-F238E27FC236}">
                <a16:creationId xmlns:a16="http://schemas.microsoft.com/office/drawing/2014/main" id="{CC2AB3A3-8BE7-486B-AACC-F97D7077B199}"/>
              </a:ext>
            </a:extLst>
          </p:cNvPr>
          <p:cNvSpPr>
            <a:spLocks noGrp="1"/>
          </p:cNvSpPr>
          <p:nvPr>
            <p:ph type="ctrTitle" hasCustomPrompt="1"/>
          </p:nvPr>
        </p:nvSpPr>
        <p:spPr bwMode="gray">
          <a:xfrm>
            <a:off x="634628" y="4348318"/>
            <a:ext cx="10525255" cy="2708124"/>
          </a:xfrm>
          <a:prstGeom prst="rect">
            <a:avLst/>
          </a:prstGeom>
          <a:solidFill>
            <a:schemeClr val="accent1">
              <a:alpha val="74902"/>
            </a:schemeClr>
          </a:solidFill>
        </p:spPr>
        <p:txBody>
          <a:bodyPr wrap="square" lIns="216000" tIns="180000" rIns="216000" bIns="1260000" anchor="b" anchorCtr="0">
            <a:spAutoFit/>
          </a:bodyPr>
          <a:lstStyle>
            <a:lvl1pPr algn="l">
              <a:defRPr sz="4527" b="1">
                <a:latin typeface="Amalia" panose="020B0504020203020204" pitchFamily="34" charset="0"/>
              </a:defRPr>
            </a:lvl1pPr>
          </a:lstStyle>
          <a:p>
            <a:r>
              <a:rPr lang="de-DE"/>
              <a:t>Mastertitelformat </a:t>
            </a:r>
            <a:br>
              <a:rPr lang="de-DE"/>
            </a:br>
            <a:r>
              <a:rPr lang="de-DE"/>
              <a:t>bearbeiten</a:t>
            </a:r>
            <a:endParaRPr lang="en-US"/>
          </a:p>
        </p:txBody>
      </p:sp>
      <p:pic>
        <p:nvPicPr>
          <p:cNvPr id="16" name="Picture 15">
            <a:extLst>
              <a:ext uri="{FF2B5EF4-FFF2-40B4-BE49-F238E27FC236}">
                <a16:creationId xmlns:a16="http://schemas.microsoft.com/office/drawing/2014/main" id="{088DD101-4E0F-4803-84C6-BB7D335EF6C4}"/>
              </a:ext>
            </a:extLst>
          </p:cNvPr>
          <p:cNvPicPr>
            <a:picLocks noChangeAspect="1"/>
          </p:cNvPicPr>
          <p:nvPr userDrawn="1"/>
        </p:nvPicPr>
        <p:blipFill rotWithShape="1">
          <a:blip r:embed="rId10"/>
          <a:srcRect r="5830"/>
          <a:stretch/>
        </p:blipFill>
        <p:spPr>
          <a:xfrm>
            <a:off x="8100189" y="5011826"/>
            <a:ext cx="5342761" cy="2522608"/>
          </a:xfrm>
          <a:prstGeom prst="rect">
            <a:avLst/>
          </a:prstGeom>
        </p:spPr>
      </p:pic>
      <p:pic>
        <p:nvPicPr>
          <p:cNvPr id="17" name="Picture 16">
            <a:extLst>
              <a:ext uri="{FF2B5EF4-FFF2-40B4-BE49-F238E27FC236}">
                <a16:creationId xmlns:a16="http://schemas.microsoft.com/office/drawing/2014/main" id="{3BD62A0C-2722-4851-BD80-08ECE99B3B7A}"/>
              </a:ext>
            </a:extLst>
          </p:cNvPr>
          <p:cNvPicPr>
            <a:picLocks noChangeAspect="1"/>
          </p:cNvPicPr>
          <p:nvPr userDrawn="1"/>
        </p:nvPicPr>
        <p:blipFill>
          <a:blip r:embed="rId11"/>
          <a:stretch>
            <a:fillRect/>
          </a:stretch>
        </p:blipFill>
        <p:spPr>
          <a:xfrm>
            <a:off x="8100190" y="2722784"/>
            <a:ext cx="5342760" cy="2279336"/>
          </a:xfrm>
          <a:prstGeom prst="rect">
            <a:avLst/>
          </a:prstGeom>
        </p:spPr>
      </p:pic>
      <p:pic>
        <p:nvPicPr>
          <p:cNvPr id="18" name="Picture 17">
            <a:extLst>
              <a:ext uri="{FF2B5EF4-FFF2-40B4-BE49-F238E27FC236}">
                <a16:creationId xmlns:a16="http://schemas.microsoft.com/office/drawing/2014/main" id="{CDE37D5D-CE44-4186-9E88-391091A5C4DF}"/>
              </a:ext>
            </a:extLst>
          </p:cNvPr>
          <p:cNvPicPr>
            <a:picLocks noChangeAspect="1"/>
          </p:cNvPicPr>
          <p:nvPr userDrawn="1"/>
        </p:nvPicPr>
        <p:blipFill>
          <a:blip r:embed="rId12"/>
          <a:stretch>
            <a:fillRect/>
          </a:stretch>
        </p:blipFill>
        <p:spPr>
          <a:xfrm>
            <a:off x="8100189" y="500392"/>
            <a:ext cx="5342761" cy="2208882"/>
          </a:xfrm>
          <a:prstGeom prst="rect">
            <a:avLst/>
          </a:prstGeom>
        </p:spPr>
      </p:pic>
    </p:spTree>
    <p:extLst>
      <p:ext uri="{BB962C8B-B14F-4D97-AF65-F5344CB8AC3E}">
        <p14:creationId xmlns:p14="http://schemas.microsoft.com/office/powerpoint/2010/main" val="13702753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a:xfrm>
            <a:off x="634631" y="471294"/>
            <a:ext cx="10571473" cy="371854"/>
          </a:xfrm>
        </p:spPr>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08224"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7043098"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a:off x="608224"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7061060"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3">
            <a:extLst>
              <a:ext uri="{FF2B5EF4-FFF2-40B4-BE49-F238E27FC236}">
                <a16:creationId xmlns:a16="http://schemas.microsoft.com/office/drawing/2014/main" id="{D3326A8B-73FA-424D-ADE9-35005B7A8F7E}"/>
              </a:ext>
            </a:extLst>
          </p:cNvPr>
          <p:cNvSpPr>
            <a:spLocks noGrp="1"/>
          </p:cNvSpPr>
          <p:nvPr>
            <p:ph sz="quarter" idx="27"/>
          </p:nvPr>
        </p:nvSpPr>
        <p:spPr>
          <a:xfrm>
            <a:off x="634630" y="1789113"/>
            <a:ext cx="6086846"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3" name="Inhaltsplatzhalter 3">
            <a:extLst>
              <a:ext uri="{FF2B5EF4-FFF2-40B4-BE49-F238E27FC236}">
                <a16:creationId xmlns:a16="http://schemas.microsoft.com/office/drawing/2014/main" id="{9F8E0124-53EB-422F-AE36-690D15448AD2}"/>
              </a:ext>
            </a:extLst>
          </p:cNvPr>
          <p:cNvSpPr>
            <a:spLocks noGrp="1"/>
          </p:cNvSpPr>
          <p:nvPr>
            <p:ph sz="quarter" idx="28"/>
          </p:nvPr>
        </p:nvSpPr>
        <p:spPr>
          <a:xfrm>
            <a:off x="7040787" y="1789113"/>
            <a:ext cx="6086846"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20178121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a:xfrm>
            <a:off x="634628" y="471294"/>
            <a:ext cx="10558842" cy="371848"/>
          </a:xfrm>
        </p:spPr>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64282" y="1371604"/>
            <a:ext cx="8128768" cy="265587"/>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9033161" y="1371600"/>
            <a:ext cx="4091477"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flipV="1">
            <a:off x="673606" y="1656146"/>
            <a:ext cx="8119446" cy="2857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9033161" y="1637218"/>
            <a:ext cx="40914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3">
            <a:extLst>
              <a:ext uri="{FF2B5EF4-FFF2-40B4-BE49-F238E27FC236}">
                <a16:creationId xmlns:a16="http://schemas.microsoft.com/office/drawing/2014/main" id="{7143DA26-E20A-41F0-9F88-7E8AEDD8646A}"/>
              </a:ext>
            </a:extLst>
          </p:cNvPr>
          <p:cNvSpPr>
            <a:spLocks noGrp="1"/>
          </p:cNvSpPr>
          <p:nvPr>
            <p:ph sz="quarter" idx="27"/>
          </p:nvPr>
        </p:nvSpPr>
        <p:spPr>
          <a:xfrm>
            <a:off x="634629" y="1789113"/>
            <a:ext cx="8170344"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5" name="Inhaltsplatzhalter 5">
            <a:extLst>
              <a:ext uri="{FF2B5EF4-FFF2-40B4-BE49-F238E27FC236}">
                <a16:creationId xmlns:a16="http://schemas.microsoft.com/office/drawing/2014/main" id="{D8315B02-4D1D-426D-B3C8-40CA8DFB96E6}"/>
              </a:ext>
            </a:extLst>
          </p:cNvPr>
          <p:cNvSpPr>
            <a:spLocks noGrp="1"/>
          </p:cNvSpPr>
          <p:nvPr>
            <p:ph sz="quarter" idx="28"/>
          </p:nvPr>
        </p:nvSpPr>
        <p:spPr>
          <a:xfrm>
            <a:off x="9048448" y="1789113"/>
            <a:ext cx="4079185"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24346306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651655" y="1371600"/>
            <a:ext cx="3916552" cy="237038"/>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673610" y="1637218"/>
            <a:ext cx="389459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0566E1DD-8A7B-4A97-80A7-1A4B16B40883}"/>
              </a:ext>
            </a:extLst>
          </p:cNvPr>
          <p:cNvSpPr>
            <a:spLocks noGrp="1"/>
          </p:cNvSpPr>
          <p:nvPr>
            <p:ph type="body" sz="quarter" idx="28" hasCustomPrompt="1"/>
          </p:nvPr>
        </p:nvSpPr>
        <p:spPr bwMode="gray">
          <a:xfrm>
            <a:off x="4927412" y="1371600"/>
            <a:ext cx="3916552" cy="237038"/>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22" name="Straight Connector 13">
            <a:extLst>
              <a:ext uri="{FF2B5EF4-FFF2-40B4-BE49-F238E27FC236}">
                <a16:creationId xmlns:a16="http://schemas.microsoft.com/office/drawing/2014/main" id="{F5C9B0E8-80A2-4713-A06C-927492122692}"/>
              </a:ext>
            </a:extLst>
          </p:cNvPr>
          <p:cNvCxnSpPr>
            <a:cxnSpLocks/>
          </p:cNvCxnSpPr>
          <p:nvPr userDrawn="1"/>
        </p:nvCxnSpPr>
        <p:spPr bwMode="gray">
          <a:xfrm>
            <a:off x="4949367" y="1637218"/>
            <a:ext cx="389459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6">
            <a:extLst>
              <a:ext uri="{FF2B5EF4-FFF2-40B4-BE49-F238E27FC236}">
                <a16:creationId xmlns:a16="http://schemas.microsoft.com/office/drawing/2014/main" id="{A479CDF5-1EE9-444F-A0E4-E72E207E55B8}"/>
              </a:ext>
            </a:extLst>
          </p:cNvPr>
          <p:cNvSpPr>
            <a:spLocks noGrp="1"/>
          </p:cNvSpPr>
          <p:nvPr>
            <p:ph type="body" sz="quarter" idx="30" hasCustomPrompt="1"/>
          </p:nvPr>
        </p:nvSpPr>
        <p:spPr bwMode="gray">
          <a:xfrm>
            <a:off x="9211079" y="1371600"/>
            <a:ext cx="3916552" cy="237038"/>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25" name="Straight Connector 13">
            <a:extLst>
              <a:ext uri="{FF2B5EF4-FFF2-40B4-BE49-F238E27FC236}">
                <a16:creationId xmlns:a16="http://schemas.microsoft.com/office/drawing/2014/main" id="{6EDA16D8-0DF0-4B9A-B5E8-B2E91C8391C2}"/>
              </a:ext>
            </a:extLst>
          </p:cNvPr>
          <p:cNvCxnSpPr>
            <a:cxnSpLocks/>
          </p:cNvCxnSpPr>
          <p:nvPr userDrawn="1"/>
        </p:nvCxnSpPr>
        <p:spPr bwMode="gray">
          <a:xfrm>
            <a:off x="9233035" y="1637218"/>
            <a:ext cx="389459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Inhaltsplatzhalter 3">
            <a:extLst>
              <a:ext uri="{FF2B5EF4-FFF2-40B4-BE49-F238E27FC236}">
                <a16:creationId xmlns:a16="http://schemas.microsoft.com/office/drawing/2014/main" id="{FA33D903-30B3-4ADA-A550-0773B5E25345}"/>
              </a:ext>
            </a:extLst>
          </p:cNvPr>
          <p:cNvSpPr>
            <a:spLocks noGrp="1"/>
          </p:cNvSpPr>
          <p:nvPr>
            <p:ph sz="quarter" idx="31"/>
          </p:nvPr>
        </p:nvSpPr>
        <p:spPr>
          <a:xfrm>
            <a:off x="634630" y="1789113"/>
            <a:ext cx="3963434"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6" name="Inhaltsplatzhalter 3">
            <a:extLst>
              <a:ext uri="{FF2B5EF4-FFF2-40B4-BE49-F238E27FC236}">
                <a16:creationId xmlns:a16="http://schemas.microsoft.com/office/drawing/2014/main" id="{776B8A94-73C4-474A-BA9C-DF7D88C552F3}"/>
              </a:ext>
            </a:extLst>
          </p:cNvPr>
          <p:cNvSpPr>
            <a:spLocks noGrp="1"/>
          </p:cNvSpPr>
          <p:nvPr>
            <p:ph sz="quarter" idx="32"/>
          </p:nvPr>
        </p:nvSpPr>
        <p:spPr>
          <a:xfrm>
            <a:off x="4898437" y="1789113"/>
            <a:ext cx="3963434"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7" name="Inhaltsplatzhalter 3">
            <a:extLst>
              <a:ext uri="{FF2B5EF4-FFF2-40B4-BE49-F238E27FC236}">
                <a16:creationId xmlns:a16="http://schemas.microsoft.com/office/drawing/2014/main" id="{A9A5E772-9314-4702-8479-409B8388B0F6}"/>
              </a:ext>
            </a:extLst>
          </p:cNvPr>
          <p:cNvSpPr>
            <a:spLocks noGrp="1"/>
          </p:cNvSpPr>
          <p:nvPr>
            <p:ph sz="quarter" idx="33"/>
          </p:nvPr>
        </p:nvSpPr>
        <p:spPr>
          <a:xfrm>
            <a:off x="9220587" y="1789113"/>
            <a:ext cx="3907046"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7213865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06869"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7017836"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a:off x="628821"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7035797"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526F2951-26C2-414F-AD6D-C99A3D5E9A68}"/>
              </a:ext>
            </a:extLst>
          </p:cNvPr>
          <p:cNvSpPr>
            <a:spLocks noGrp="1"/>
          </p:cNvSpPr>
          <p:nvPr>
            <p:ph type="body" sz="quarter" idx="29" hasCustomPrompt="1"/>
          </p:nvPr>
        </p:nvSpPr>
        <p:spPr bwMode="gray">
          <a:xfrm>
            <a:off x="606869" y="4385341"/>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hasCustomPrompt="1"/>
          </p:nvPr>
        </p:nvSpPr>
        <p:spPr bwMode="gray">
          <a:xfrm>
            <a:off x="7017836" y="4385341"/>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24" name="Straight Connector 23">
            <a:extLst>
              <a:ext uri="{FF2B5EF4-FFF2-40B4-BE49-F238E27FC236}">
                <a16:creationId xmlns:a16="http://schemas.microsoft.com/office/drawing/2014/main" id="{CAC32974-6F9C-4FC4-9118-4A47212B8AAE}"/>
              </a:ext>
            </a:extLst>
          </p:cNvPr>
          <p:cNvCxnSpPr>
            <a:cxnSpLocks/>
          </p:cNvCxnSpPr>
          <p:nvPr userDrawn="1"/>
        </p:nvCxnSpPr>
        <p:spPr bwMode="gray">
          <a:xfrm>
            <a:off x="628821" y="4650959"/>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38F8139-A83E-4717-87B2-7BE15024C55C}"/>
              </a:ext>
            </a:extLst>
          </p:cNvPr>
          <p:cNvCxnSpPr>
            <a:cxnSpLocks/>
          </p:cNvCxnSpPr>
          <p:nvPr userDrawn="1"/>
        </p:nvCxnSpPr>
        <p:spPr bwMode="gray">
          <a:xfrm>
            <a:off x="7035797" y="4650959"/>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Inhaltsplatzhalter 3">
            <a:extLst>
              <a:ext uri="{FF2B5EF4-FFF2-40B4-BE49-F238E27FC236}">
                <a16:creationId xmlns:a16="http://schemas.microsoft.com/office/drawing/2014/main" id="{531B6A71-BFF3-4F42-B15C-6FAED95A564B}"/>
              </a:ext>
            </a:extLst>
          </p:cNvPr>
          <p:cNvSpPr>
            <a:spLocks noGrp="1"/>
          </p:cNvSpPr>
          <p:nvPr>
            <p:ph sz="quarter" idx="31"/>
          </p:nvPr>
        </p:nvSpPr>
        <p:spPr>
          <a:xfrm>
            <a:off x="634630" y="1785875"/>
            <a:ext cx="6086846" cy="21019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6" name="Inhaltsplatzhalter 3">
            <a:extLst>
              <a:ext uri="{FF2B5EF4-FFF2-40B4-BE49-F238E27FC236}">
                <a16:creationId xmlns:a16="http://schemas.microsoft.com/office/drawing/2014/main" id="{FFABF222-C99C-435E-AAE0-2AEBF6343E73}"/>
              </a:ext>
            </a:extLst>
          </p:cNvPr>
          <p:cNvSpPr>
            <a:spLocks noGrp="1"/>
          </p:cNvSpPr>
          <p:nvPr>
            <p:ph sz="quarter" idx="32"/>
          </p:nvPr>
        </p:nvSpPr>
        <p:spPr>
          <a:xfrm>
            <a:off x="7038791" y="1785875"/>
            <a:ext cx="6086846" cy="21019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7" name="Inhaltsplatzhalter 3">
            <a:extLst>
              <a:ext uri="{FF2B5EF4-FFF2-40B4-BE49-F238E27FC236}">
                <a16:creationId xmlns:a16="http://schemas.microsoft.com/office/drawing/2014/main" id="{0AA2D166-3823-4105-BD27-D7A67E044E9C}"/>
              </a:ext>
            </a:extLst>
          </p:cNvPr>
          <p:cNvSpPr>
            <a:spLocks noGrp="1"/>
          </p:cNvSpPr>
          <p:nvPr>
            <p:ph sz="quarter" idx="33"/>
          </p:nvPr>
        </p:nvSpPr>
        <p:spPr>
          <a:xfrm>
            <a:off x="645075" y="4816379"/>
            <a:ext cx="6086846" cy="21019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8" name="Inhaltsplatzhalter 3">
            <a:extLst>
              <a:ext uri="{FF2B5EF4-FFF2-40B4-BE49-F238E27FC236}">
                <a16:creationId xmlns:a16="http://schemas.microsoft.com/office/drawing/2014/main" id="{6DFF572B-A1C0-4BA5-A1A4-A9FAF8D608F8}"/>
              </a:ext>
            </a:extLst>
          </p:cNvPr>
          <p:cNvSpPr>
            <a:spLocks noGrp="1"/>
          </p:cNvSpPr>
          <p:nvPr>
            <p:ph sz="quarter" idx="34"/>
          </p:nvPr>
        </p:nvSpPr>
        <p:spPr>
          <a:xfrm>
            <a:off x="7049236" y="4816379"/>
            <a:ext cx="6086846" cy="21019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16239358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de-DE"/>
              <a:t>Mastertitelformat bearbeiten</a:t>
            </a:r>
            <a:endParaRPr lang="en-US"/>
          </a:p>
        </p:txBody>
      </p:sp>
      <p:sp>
        <p:nvSpPr>
          <p:cNvPr id="5" name="Inhaltsplatzhalter 3">
            <a:extLst>
              <a:ext uri="{FF2B5EF4-FFF2-40B4-BE49-F238E27FC236}">
                <a16:creationId xmlns:a16="http://schemas.microsoft.com/office/drawing/2014/main" id="{0549A192-32F6-4DA3-909C-29C38DA2A2BF}"/>
              </a:ext>
            </a:extLst>
          </p:cNvPr>
          <p:cNvSpPr>
            <a:spLocks noGrp="1"/>
          </p:cNvSpPr>
          <p:nvPr>
            <p:ph sz="quarter" idx="31"/>
          </p:nvPr>
        </p:nvSpPr>
        <p:spPr>
          <a:xfrm>
            <a:off x="634630" y="1417639"/>
            <a:ext cx="6086846"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Inhaltsplatzhalter 3">
            <a:extLst>
              <a:ext uri="{FF2B5EF4-FFF2-40B4-BE49-F238E27FC236}">
                <a16:creationId xmlns:a16="http://schemas.microsoft.com/office/drawing/2014/main" id="{988C05ED-49FD-4B97-97E2-56D767B1AB33}"/>
              </a:ext>
            </a:extLst>
          </p:cNvPr>
          <p:cNvSpPr>
            <a:spLocks noGrp="1"/>
          </p:cNvSpPr>
          <p:nvPr>
            <p:ph sz="quarter" idx="32"/>
          </p:nvPr>
        </p:nvSpPr>
        <p:spPr>
          <a:xfrm>
            <a:off x="7040787" y="1417639"/>
            <a:ext cx="6086846"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29498232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1D05D9-0CA9-4E54-A7D7-E880F863B256}"/>
              </a:ext>
            </a:extLst>
          </p:cNvPr>
          <p:cNvSpPr>
            <a:spLocks noGrp="1"/>
          </p:cNvSpPr>
          <p:nvPr>
            <p:ph type="title"/>
          </p:nvPr>
        </p:nvSpPr>
        <p:spPr bwMode="gray"/>
        <p:txBody>
          <a:bodyPr/>
          <a:lstStyle/>
          <a:p>
            <a:r>
              <a:rPr lang="de-DE"/>
              <a:t>Mastertitelformat bearbeiten</a:t>
            </a:r>
            <a:endParaRPr lang="en-US"/>
          </a:p>
        </p:txBody>
      </p:sp>
      <p:sp>
        <p:nvSpPr>
          <p:cNvPr id="5" name="Inhaltsplatzhalter 4">
            <a:extLst>
              <a:ext uri="{FF2B5EF4-FFF2-40B4-BE49-F238E27FC236}">
                <a16:creationId xmlns:a16="http://schemas.microsoft.com/office/drawing/2014/main" id="{79548BF3-4A8B-4DCD-9674-043F3D0475AB}"/>
              </a:ext>
            </a:extLst>
          </p:cNvPr>
          <p:cNvSpPr>
            <a:spLocks noGrp="1"/>
          </p:cNvSpPr>
          <p:nvPr>
            <p:ph sz="quarter" idx="10"/>
          </p:nvPr>
        </p:nvSpPr>
        <p:spPr>
          <a:xfrm>
            <a:off x="634630" y="1417639"/>
            <a:ext cx="12493003"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1586952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ext (2)">
    <p:spTree>
      <p:nvGrpSpPr>
        <p:cNvPr id="1" name=""/>
        <p:cNvGrpSpPr/>
        <p:nvPr/>
      </p:nvGrpSpPr>
      <p:grpSpPr>
        <a:xfrm>
          <a:off x="0" y="0"/>
          <a:ext cx="0" cy="0"/>
          <a:chOff x="0" y="0"/>
          <a:chExt cx="0" cy="0"/>
        </a:xfrm>
      </p:grpSpPr>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7673420" y="1790704"/>
            <a:ext cx="5451220" cy="5125245"/>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36730" y="1371600"/>
            <a:ext cx="6742433"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7673420" y="1371600"/>
            <a:ext cx="5451220"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a:off x="658682" y="1637218"/>
            <a:ext cx="67259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7673421" y="1637218"/>
            <a:ext cx="545421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able Placeholder 16">
            <a:extLst>
              <a:ext uri="{FF2B5EF4-FFF2-40B4-BE49-F238E27FC236}">
                <a16:creationId xmlns:a16="http://schemas.microsoft.com/office/drawing/2014/main" id="{FFB4C636-F608-4BA0-8D9F-9989C7FCE4B0}"/>
              </a:ext>
            </a:extLst>
          </p:cNvPr>
          <p:cNvSpPr>
            <a:spLocks noGrp="1"/>
          </p:cNvSpPr>
          <p:nvPr>
            <p:ph type="tbl" sz="quarter" idx="27"/>
          </p:nvPr>
        </p:nvSpPr>
        <p:spPr bwMode="gray">
          <a:xfrm>
            <a:off x="658682" y="1790703"/>
            <a:ext cx="6720478" cy="5125237"/>
          </a:xfrm>
        </p:spPr>
        <p:txBody>
          <a:bodyPr/>
          <a:lstStyle/>
          <a:p>
            <a:r>
              <a:rPr lang="de-DE"/>
              <a:t>Tabelle durch Klicken auf Symbol hinzufügen</a:t>
            </a:r>
            <a:endParaRPr lang="en-US"/>
          </a:p>
        </p:txBody>
      </p:sp>
    </p:spTree>
    <p:extLst>
      <p:ext uri="{BB962C8B-B14F-4D97-AF65-F5344CB8AC3E}">
        <p14:creationId xmlns:p14="http://schemas.microsoft.com/office/powerpoint/2010/main" val="3109227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06869"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7017836"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a:off x="628821"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7035797"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hasCustomPrompt="1"/>
          </p:nvPr>
        </p:nvSpPr>
        <p:spPr bwMode="gray">
          <a:xfrm>
            <a:off x="7017836" y="4385341"/>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userDrawn="1"/>
        </p:nvCxnSpPr>
        <p:spPr bwMode="gray">
          <a:xfrm>
            <a:off x="7035797" y="4650959"/>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050D4A86-2B2E-4975-9965-965FE854B5F3}"/>
              </a:ext>
            </a:extLst>
          </p:cNvPr>
          <p:cNvSpPr>
            <a:spLocks noGrp="1"/>
          </p:cNvSpPr>
          <p:nvPr>
            <p:ph sz="quarter" idx="33"/>
          </p:nvPr>
        </p:nvSpPr>
        <p:spPr>
          <a:xfrm>
            <a:off x="634630" y="3779843"/>
            <a:ext cx="6086846" cy="3138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Inhaltsplatzhalter 5">
            <a:extLst>
              <a:ext uri="{FF2B5EF4-FFF2-40B4-BE49-F238E27FC236}">
                <a16:creationId xmlns:a16="http://schemas.microsoft.com/office/drawing/2014/main" id="{AD0F2DCB-DB4F-4834-88FF-088B06D157A3}"/>
              </a:ext>
            </a:extLst>
          </p:cNvPr>
          <p:cNvSpPr>
            <a:spLocks noGrp="1"/>
          </p:cNvSpPr>
          <p:nvPr>
            <p:ph sz="quarter" idx="34"/>
          </p:nvPr>
        </p:nvSpPr>
        <p:spPr>
          <a:xfrm>
            <a:off x="634630" y="1760538"/>
            <a:ext cx="6086846" cy="17907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2" name="Inhaltsplatzhalter 11">
            <a:extLst>
              <a:ext uri="{FF2B5EF4-FFF2-40B4-BE49-F238E27FC236}">
                <a16:creationId xmlns:a16="http://schemas.microsoft.com/office/drawing/2014/main" id="{CCADC414-999D-47DC-8CB2-92712A879B04}"/>
              </a:ext>
            </a:extLst>
          </p:cNvPr>
          <p:cNvSpPr>
            <a:spLocks noGrp="1"/>
          </p:cNvSpPr>
          <p:nvPr>
            <p:ph sz="quarter" idx="35"/>
          </p:nvPr>
        </p:nvSpPr>
        <p:spPr>
          <a:xfrm>
            <a:off x="7038792" y="1800230"/>
            <a:ext cx="6088841" cy="19796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5" name="Inhaltsplatzhalter 14">
            <a:extLst>
              <a:ext uri="{FF2B5EF4-FFF2-40B4-BE49-F238E27FC236}">
                <a16:creationId xmlns:a16="http://schemas.microsoft.com/office/drawing/2014/main" id="{83CED556-CF8F-4052-98EC-6F9B1DAC261D}"/>
              </a:ext>
            </a:extLst>
          </p:cNvPr>
          <p:cNvSpPr>
            <a:spLocks noGrp="1"/>
          </p:cNvSpPr>
          <p:nvPr>
            <p:ph sz="quarter" idx="36"/>
          </p:nvPr>
        </p:nvSpPr>
        <p:spPr>
          <a:xfrm>
            <a:off x="7038792" y="4786313"/>
            <a:ext cx="6088841" cy="2132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20114766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CBA2A-48B0-4876-8013-FC72DEEE489C}"/>
              </a:ext>
            </a:extLst>
          </p:cNvPr>
          <p:cNvSpPr>
            <a:spLocks noGrp="1"/>
          </p:cNvSpPr>
          <p:nvPr>
            <p:ph type="title"/>
          </p:nvPr>
        </p:nvSpPr>
        <p:spPr bwMode="gray"/>
        <p:txBody>
          <a:bodyPr/>
          <a:lstStyle/>
          <a:p>
            <a:r>
              <a:rPr lang="de-DE"/>
              <a:t>Mastertitelformat bearbeiten</a:t>
            </a:r>
            <a:endParaRPr lang="en-US"/>
          </a:p>
        </p:txBody>
      </p:sp>
    </p:spTree>
    <p:extLst>
      <p:ext uri="{BB962C8B-B14F-4D97-AF65-F5344CB8AC3E}">
        <p14:creationId xmlns:p14="http://schemas.microsoft.com/office/powerpoint/2010/main" val="16676716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8" name="Text Placeholder 24">
            <a:extLst>
              <a:ext uri="{FF2B5EF4-FFF2-40B4-BE49-F238E27FC236}">
                <a16:creationId xmlns:a16="http://schemas.microsoft.com/office/drawing/2014/main" id="{46248FCC-5951-49F9-8508-726438B7B1EF}"/>
              </a:ext>
            </a:extLst>
          </p:cNvPr>
          <p:cNvSpPr txBox="1">
            <a:spLocks/>
          </p:cNvSpPr>
          <p:nvPr/>
        </p:nvSpPr>
        <p:spPr bwMode="gray">
          <a:xfrm>
            <a:off x="634630" y="1509713"/>
            <a:ext cx="12493003" cy="5657318"/>
          </a:xfrm>
          <a:prstGeom prst="rect">
            <a:avLst/>
          </a:prstGeom>
        </p:spPr>
        <p:txBody>
          <a:bodyPr wrap="square" lIns="0" tIns="0" rIns="0" bIns="0">
            <a:spAutoFit/>
          </a:bodyPr>
          <a:lstStyle>
            <a:lvl1pPr marL="0" indent="0" algn="l" defTabSz="802020" rtl="0" eaLnBrk="1" latinLnBrk="0" hangingPunct="1">
              <a:lnSpc>
                <a:spcPct val="120000"/>
              </a:lnSpc>
              <a:spcBef>
                <a:spcPts val="0"/>
              </a:spcBef>
              <a:spcAft>
                <a:spcPts val="600"/>
              </a:spcAft>
              <a:buFont typeface="Symbol" panose="05050102010706020507" pitchFamily="18" charset="2"/>
              <a:buNone/>
              <a:defRPr sz="1000" b="1" kern="1200">
                <a:solidFill>
                  <a:schemeClr val="tx1"/>
                </a:solidFill>
                <a:latin typeface="+mn-lt"/>
                <a:ea typeface="+mn-ea"/>
                <a:cs typeface="+mn-cs"/>
              </a:defRPr>
            </a:lvl1pPr>
            <a:lvl2pPr marL="0" indent="0" algn="l" defTabSz="802020" rtl="0" eaLnBrk="1" latinLnBrk="0" hangingPunct="1">
              <a:lnSpc>
                <a:spcPct val="120000"/>
              </a:lnSpc>
              <a:spcBef>
                <a:spcPts val="0"/>
              </a:spcBef>
              <a:spcAft>
                <a:spcPts val="600"/>
              </a:spcAft>
              <a:buFont typeface="Symbol" panose="05050102010706020507" pitchFamily="18" charset="2"/>
              <a:buNone/>
              <a:defRPr sz="1000" kern="1200">
                <a:solidFill>
                  <a:schemeClr val="tx1"/>
                </a:solidFill>
                <a:latin typeface="+mn-lt"/>
                <a:ea typeface="+mn-ea"/>
                <a:cs typeface="+mn-cs"/>
              </a:defRPr>
            </a:lvl2pPr>
            <a:lvl3pPr marL="180000" indent="-180000" algn="l" defTabSz="802020" rtl="0" eaLnBrk="1" latinLnBrk="0" hangingPunct="1">
              <a:lnSpc>
                <a:spcPct val="120000"/>
              </a:lnSpc>
              <a:spcBef>
                <a:spcPts val="0"/>
              </a:spcBef>
              <a:spcAft>
                <a:spcPts val="600"/>
              </a:spcAft>
              <a:buClr>
                <a:schemeClr val="accent2"/>
              </a:buClr>
              <a:buFont typeface="Wingdings" panose="05000000000000000000" pitchFamily="2" charset="2"/>
              <a:buChar char="§"/>
              <a:defRPr sz="1000" kern="1200">
                <a:solidFill>
                  <a:schemeClr val="tx1"/>
                </a:solidFill>
                <a:latin typeface="+mn-lt"/>
                <a:ea typeface="+mn-ea"/>
                <a:cs typeface="+mn-cs"/>
              </a:defRPr>
            </a:lvl3pPr>
            <a:lvl4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4pPr>
            <a:lvl5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5pPr>
            <a:lvl6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6pPr>
            <a:lvl7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7pPr>
            <a:lvl8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8pPr>
            <a:lvl9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9pPr>
          </a:lstStyle>
          <a:p>
            <a:r>
              <a:rPr lang="en-US" sz="1509">
                <a:solidFill>
                  <a:schemeClr val="accent3"/>
                </a:solidFill>
                <a:latin typeface="Amalia" panose="020B0504020203020204" pitchFamily="34" charset="0"/>
              </a:rPr>
              <a:t>DISCLAIMER </a:t>
            </a:r>
          </a:p>
          <a:p>
            <a:r>
              <a:rPr lang="en-US" sz="1509" b="0">
                <a:latin typeface="Amalia" panose="020B0504020203020204" pitchFamily="34" charset="0"/>
              </a:rPr>
              <a:t>This presentation is provided for information purposes only and it is not intended to, nor does it constitute a contractual commitment or otherwise create any obligation on behalf of Raiffeisen Bank International and/or any of its affiliates whatsoever. Information contained in this presentation is not intended to be, nor should it be construed as, and does not constitute an opinion or an offer, invitation, advertisement, solicitation, financial analyses, investment advice or any recommendation relating to transactions in securities or other financial instruments by or on behalf of Raiffeisen Bank International. </a:t>
            </a:r>
          </a:p>
          <a:p>
            <a:endParaRPr lang="en-US" sz="1509" b="0">
              <a:latin typeface="Amalia" panose="020B0504020203020204" pitchFamily="34" charset="0"/>
            </a:endParaRPr>
          </a:p>
          <a:p>
            <a:r>
              <a:rPr lang="en-US" sz="1509" b="0">
                <a:latin typeface="Amalia" panose="020B0504020203020204" pitchFamily="34" charset="0"/>
              </a:rPr>
              <a:t>Information in this presentation reflect prevailing conditions and views as of this date, which are accordingly subject to change. </a:t>
            </a:r>
            <a:br>
              <a:rPr lang="en-US" sz="1509" b="0">
                <a:latin typeface="Amalia" panose="020B0504020203020204" pitchFamily="34" charset="0"/>
              </a:rPr>
            </a:br>
            <a:r>
              <a:rPr lang="en-US" sz="1509" b="0">
                <a:latin typeface="Amalia" panose="020B0504020203020204" pitchFamily="34" charset="0"/>
              </a:rPr>
              <a:t>Raiffeisen Bank International assumes no responsibility or liability for and makes no guarantees, undertakings, representations or warranties in connection with the reliability, accuracy, completeness, up-to-date nature or for the fitness for a particular purpose of any information provided in this presentation at this time or at any time in the future and does not accept any liability whatsoever arising from any errors </a:t>
            </a:r>
            <a:br>
              <a:rPr lang="en-US" sz="1509" b="0">
                <a:latin typeface="Amalia" panose="020B0504020203020204" pitchFamily="34" charset="0"/>
              </a:rPr>
            </a:br>
            <a:r>
              <a:rPr lang="en-US" sz="1509" b="0">
                <a:latin typeface="Amalia" panose="020B0504020203020204" pitchFamily="34" charset="0"/>
              </a:rPr>
              <a:t>or omissions. Raiffeisen Bank International has no responsibility to amend or to update this presentation for events and or circumstances occurring after the date hereof, in case Raiffeisen Bank International obtains or should have obtained any information, which would negatively affect any statement made herein. </a:t>
            </a:r>
          </a:p>
          <a:p>
            <a:endParaRPr lang="en-US" sz="1509" b="0">
              <a:latin typeface="Amalia" panose="020B0504020203020204" pitchFamily="34" charset="0"/>
            </a:endParaRPr>
          </a:p>
          <a:p>
            <a:r>
              <a:rPr lang="en-US" sz="1509" b="0">
                <a:latin typeface="Amalia" panose="020B0504020203020204" pitchFamily="34" charset="0"/>
              </a:rPr>
              <a:t>Information, content, graphics, text, designs, trade marks, trade names and logos contained in this presentation are protected by trade mark, copyright and other intellectual property laws under national laws and international treaties. Reproduction, representation or translation in part or in whole of the contents of this presentation by whatever process are prohibited without Raiffeisen Bank International´s prior permission. No extracts of this presentation may be forwarded separately or as part of a larger work without Raiffeisen Bank International’s prior permission.</a:t>
            </a:r>
          </a:p>
        </p:txBody>
      </p:sp>
    </p:spTree>
    <p:extLst>
      <p:ext uri="{BB962C8B-B14F-4D97-AF65-F5344CB8AC3E}">
        <p14:creationId xmlns:p14="http://schemas.microsoft.com/office/powerpoint/2010/main" val="371076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4BC3A9F6-0C35-4E1B-8B84-0F64552EAA52}"/>
              </a:ext>
            </a:extLst>
          </p:cNvPr>
          <p:cNvPicPr>
            <a:picLocks noChangeAspect="1"/>
          </p:cNvPicPr>
          <p:nvPr userDrawn="1"/>
        </p:nvPicPr>
        <p:blipFill>
          <a:blip r:embed="rId5"/>
          <a:srcRect t="20286" b="20286"/>
          <a:stretch/>
        </p:blipFill>
        <p:spPr>
          <a:xfrm>
            <a:off x="2" y="442163"/>
            <a:ext cx="13442950" cy="7119100"/>
          </a:xfrm>
          <a:prstGeom prst="rect">
            <a:avLst/>
          </a:prstGeom>
        </p:spPr>
      </p:pic>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userDrawn="1">
            <p:custDataLst>
              <p:tags r:id="rId2"/>
            </p:custDataLst>
            <p:extLst>
              <p:ext uri="{D42A27DB-BD31-4B8C-83A1-F6EECF244321}">
                <p14:modId xmlns:p14="http://schemas.microsoft.com/office/powerpoint/2010/main" val="3490893076"/>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3076" name="think-cell Slide" r:id="rId6" imgW="351" imgH="351" progId="TCLayout.ActiveDocument.1">
                  <p:embed/>
                </p:oleObj>
              </mc:Choice>
              <mc:Fallback>
                <p:oleObj name="think-cell Slide" r:id="rId6"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7"/>
                      <a:stretch>
                        <a:fillRect/>
                      </a:stretch>
                    </p:blipFill>
                    <p:spPr>
                      <a:xfrm>
                        <a:off x="1998" y="1588"/>
                        <a:ext cx="199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52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2" y="0"/>
            <a:ext cx="1344295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634628" y="4975348"/>
            <a:ext cx="10525255" cy="2081094"/>
          </a:xfrm>
          <a:prstGeom prst="rect">
            <a:avLst/>
          </a:prstGeom>
          <a:solidFill>
            <a:schemeClr val="accent1">
              <a:alpha val="74902"/>
            </a:schemeClr>
          </a:solidFill>
        </p:spPr>
        <p:txBody>
          <a:bodyPr wrap="square" lIns="216000" tIns="180000" rIns="216000" bIns="1260000" anchor="b" anchorCtr="0">
            <a:spAutoFit/>
          </a:bodyPr>
          <a:lstStyle>
            <a:lvl1pPr algn="l">
              <a:defRPr sz="4527" b="1">
                <a:latin typeface="Amalia" panose="020B0504020203020204" pitchFamily="34" charset="0"/>
              </a:defRPr>
            </a:lvl1pPr>
          </a:lstStyle>
          <a:p>
            <a:r>
              <a:rPr lang="de-DE"/>
              <a:t>Mastertitelformat bearbeiten</a:t>
            </a:r>
            <a:endParaRPr lang="en-US"/>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634630" y="5869785"/>
            <a:ext cx="10525254" cy="1048545"/>
          </a:xfrm>
        </p:spPr>
        <p:txBody>
          <a:bodyPr lIns="216000" rIns="216000" anchor="t" anchorCtr="0"/>
          <a:lstStyle>
            <a:lvl1pPr marL="0" indent="0" algn="l">
              <a:buNone/>
              <a:defRPr sz="2011" b="0">
                <a:latin typeface="Amalia" panose="020B0504020203020204" pitchFamily="34" charset="0"/>
              </a:defRPr>
            </a:lvl1pPr>
            <a:lvl2pPr marL="0" indent="0" algn="l">
              <a:buNone/>
              <a:defRPr sz="2011">
                <a:solidFill>
                  <a:schemeClr val="tx1"/>
                </a:solidFill>
              </a:defRPr>
            </a:lvl2pPr>
            <a:lvl3pPr marL="0" indent="0" algn="l">
              <a:buNone/>
              <a:defRPr sz="2011">
                <a:solidFill>
                  <a:schemeClr val="tx1"/>
                </a:solidFill>
              </a:defRPr>
            </a:lvl3pPr>
            <a:lvl4pPr marL="0" indent="0" algn="l">
              <a:buNone/>
              <a:defRPr sz="2011">
                <a:solidFill>
                  <a:schemeClr val="tx1"/>
                </a:solidFill>
              </a:defRPr>
            </a:lvl4pPr>
            <a:lvl5pPr marL="0" indent="0" algn="l">
              <a:buNone/>
              <a:defRPr sz="2011">
                <a:solidFill>
                  <a:schemeClr val="tx1"/>
                </a:solidFill>
              </a:defRPr>
            </a:lvl5pPr>
            <a:lvl6pPr marL="0" indent="0" algn="l">
              <a:buNone/>
              <a:defRPr sz="2011">
                <a:solidFill>
                  <a:schemeClr val="tx1"/>
                </a:solidFill>
              </a:defRPr>
            </a:lvl6pPr>
            <a:lvl7pPr marL="0" indent="0" algn="l">
              <a:buNone/>
              <a:defRPr sz="2011">
                <a:solidFill>
                  <a:schemeClr val="tx1"/>
                </a:solidFill>
              </a:defRPr>
            </a:lvl7pPr>
            <a:lvl8pPr marL="0" indent="0" algn="l">
              <a:buNone/>
              <a:defRPr sz="2011">
                <a:solidFill>
                  <a:schemeClr val="tx1"/>
                </a:solidFill>
              </a:defRPr>
            </a:lvl8pPr>
            <a:lvl9pPr marL="0" indent="0" algn="l">
              <a:buNone/>
              <a:defRPr sz="2011">
                <a:solidFill>
                  <a:schemeClr val="tx1"/>
                </a:solidFill>
              </a:defRPr>
            </a:lvl9pPr>
          </a:lstStyle>
          <a:p>
            <a:pPr lvl="0"/>
            <a:r>
              <a:rPr lang="de-DE"/>
              <a:t>Master-Untertitelformat bearbeiten</a:t>
            </a:r>
            <a:endParaRPr lang="en-US"/>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userDrawn="1"/>
        </p:nvCxnSpPr>
        <p:spPr bwMode="gray">
          <a:xfrm>
            <a:off x="2" y="438150"/>
            <a:ext cx="134429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9">
            <a:extLst>
              <a:ext uri="{FF2B5EF4-FFF2-40B4-BE49-F238E27FC236}">
                <a16:creationId xmlns:a16="http://schemas.microsoft.com/office/drawing/2014/main" id="{B9E21669-770C-4564-9CDC-2DAE0BA43705}"/>
              </a:ext>
            </a:extLst>
          </p:cNvPr>
          <p:cNvPicPr>
            <a:picLocks noChangeAspect="1"/>
          </p:cNvPicPr>
          <p:nvPr userDrawn="1"/>
        </p:nvPicPr>
        <p:blipFill>
          <a:blip r:embed="rId8"/>
          <a:srcRect/>
          <a:stretch/>
        </p:blipFill>
        <p:spPr>
          <a:xfrm>
            <a:off x="12184028" y="84374"/>
            <a:ext cx="957287" cy="252181"/>
          </a:xfrm>
          <a:prstGeom prst="rect">
            <a:avLst/>
          </a:prstGeom>
        </p:spPr>
      </p:pic>
    </p:spTree>
    <p:extLst>
      <p:ext uri="{BB962C8B-B14F-4D97-AF65-F5344CB8AC3E}">
        <p14:creationId xmlns:p14="http://schemas.microsoft.com/office/powerpoint/2010/main" val="13784645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anha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0E8669-274B-45F0-8A9F-FD1585C6D849}"/>
              </a:ext>
            </a:extLst>
          </p:cNvPr>
          <p:cNvSpPr/>
          <p:nvPr userDrawn="1"/>
        </p:nvSpPr>
        <p:spPr>
          <a:xfrm>
            <a:off x="1889205" y="7172077"/>
            <a:ext cx="6493485" cy="373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443" err="1">
              <a:solidFill>
                <a:schemeClr val="tx1"/>
              </a:solidFill>
              <a:latin typeface="Century Gothic" pitchFamily="34" charset="0"/>
            </a:endParaRPr>
          </a:p>
        </p:txBody>
      </p:sp>
      <p:sp>
        <p:nvSpPr>
          <p:cNvPr id="4" name="Title 1">
            <a:extLst>
              <a:ext uri="{FF2B5EF4-FFF2-40B4-BE49-F238E27FC236}">
                <a16:creationId xmlns:a16="http://schemas.microsoft.com/office/drawing/2014/main" id="{C1AF3CA2-87C6-4D02-A3C5-E4DA109B2696}"/>
              </a:ext>
            </a:extLst>
          </p:cNvPr>
          <p:cNvSpPr>
            <a:spLocks noGrp="1"/>
          </p:cNvSpPr>
          <p:nvPr>
            <p:ph type="title"/>
          </p:nvPr>
        </p:nvSpPr>
        <p:spPr bwMode="gray">
          <a:xfrm>
            <a:off x="634629" y="471294"/>
            <a:ext cx="10546210" cy="373750"/>
          </a:xfrm>
        </p:spPr>
        <p:txBody>
          <a:bodyPr/>
          <a:lstStyle/>
          <a:p>
            <a:r>
              <a:rPr lang="de-DE"/>
              <a:t>Mastertitelformat bearbeiten</a:t>
            </a:r>
            <a:endParaRPr lang="en-US"/>
          </a:p>
        </p:txBody>
      </p:sp>
    </p:spTree>
    <p:extLst>
      <p:ext uri="{BB962C8B-B14F-4D97-AF65-F5344CB8AC3E}">
        <p14:creationId xmlns:p14="http://schemas.microsoft.com/office/powerpoint/2010/main" val="317752770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F952685-CFD4-B349-8EEF-D3DE7D499B40}"/>
              </a:ext>
            </a:extLst>
          </p:cNvPr>
          <p:cNvSpPr>
            <a:spLocks noGrp="1"/>
          </p:cNvSpPr>
          <p:nvPr>
            <p:ph type="title" hasCustomPrompt="1"/>
          </p:nvPr>
        </p:nvSpPr>
        <p:spPr>
          <a:xfrm>
            <a:off x="607314" y="763185"/>
            <a:ext cx="12225675" cy="427565"/>
          </a:xfrm>
        </p:spPr>
        <p:txBody>
          <a:bodyPr anchor="b"/>
          <a:lstStyle>
            <a:lvl1pPr>
              <a:defRPr sz="3087">
                <a:solidFill>
                  <a:srgbClr val="004F71"/>
                </a:solidFill>
              </a:defRPr>
            </a:lvl1pPr>
          </a:lstStyle>
          <a:p>
            <a:r>
              <a:rPr lang="en-US" noProof="0"/>
              <a:t>Click to add title</a:t>
            </a:r>
          </a:p>
        </p:txBody>
      </p:sp>
      <p:sp>
        <p:nvSpPr>
          <p:cNvPr id="10" name="Platshållare för text 2">
            <a:extLst>
              <a:ext uri="{FF2B5EF4-FFF2-40B4-BE49-F238E27FC236}">
                <a16:creationId xmlns:a16="http://schemas.microsoft.com/office/drawing/2014/main" id="{615B50FA-56D0-3040-A856-5FF63A4A6B1E}"/>
              </a:ext>
            </a:extLst>
          </p:cNvPr>
          <p:cNvSpPr>
            <a:spLocks noGrp="1"/>
          </p:cNvSpPr>
          <p:nvPr>
            <p:ph type="body" sz="quarter" idx="17" hasCustomPrompt="1"/>
          </p:nvPr>
        </p:nvSpPr>
        <p:spPr>
          <a:xfrm>
            <a:off x="607314" y="1190750"/>
            <a:ext cx="12225675" cy="317533"/>
          </a:xfrm>
        </p:spPr>
        <p:txBody>
          <a:bodyPr tIns="18000" anchor="t"/>
          <a:lstStyle>
            <a:lvl1pPr marL="0" indent="0">
              <a:lnSpc>
                <a:spcPct val="90000"/>
              </a:lnSpc>
              <a:spcBef>
                <a:spcPts val="0"/>
              </a:spcBef>
              <a:buNone/>
              <a:defRPr sz="2205" b="0" i="0">
                <a:solidFill>
                  <a:srgbClr val="3BB34A"/>
                </a:solidFill>
                <a:latin typeface="Bisnode Sans" pitchFamily="2" charset="77"/>
              </a:defRPr>
            </a:lvl1pPr>
            <a:lvl2pPr marL="266027" indent="0">
              <a:buNone/>
              <a:defRPr/>
            </a:lvl2pPr>
            <a:lvl3pPr marL="599726" indent="0">
              <a:buNone/>
              <a:defRPr/>
            </a:lvl3pPr>
            <a:lvl4pPr marL="826082" indent="0">
              <a:buNone/>
              <a:defRPr/>
            </a:lvl4pPr>
            <a:lvl5pPr marL="1106111" indent="0">
              <a:buNone/>
              <a:defRPr/>
            </a:lvl5pPr>
          </a:lstStyle>
          <a:p>
            <a:pPr lvl="0"/>
            <a:r>
              <a:rPr lang="en-US" noProof="0"/>
              <a:t>Click to add subtitle</a:t>
            </a:r>
          </a:p>
        </p:txBody>
      </p:sp>
    </p:spTree>
    <p:extLst>
      <p:ext uri="{BB962C8B-B14F-4D97-AF65-F5344CB8AC3E}">
        <p14:creationId xmlns:p14="http://schemas.microsoft.com/office/powerpoint/2010/main" val="358085440"/>
      </p:ext>
    </p:extLst>
  </p:cSld>
  <p:clrMapOvr>
    <a:masterClrMapping/>
  </p:clrMapOvr>
  <p:transition>
    <p:fade/>
  </p:transition>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Anhang">
    <p:spTree>
      <p:nvGrpSpPr>
        <p:cNvPr id="1" name=""/>
        <p:cNvGrpSpPr/>
        <p:nvPr/>
      </p:nvGrpSpPr>
      <p:grpSpPr>
        <a:xfrm>
          <a:off x="0" y="0"/>
          <a:ext cx="0" cy="0"/>
          <a:chOff x="0" y="0"/>
          <a:chExt cx="0" cy="0"/>
        </a:xfrm>
      </p:grpSpPr>
      <p:sp>
        <p:nvSpPr>
          <p:cNvPr id="12" name="Titel 5">
            <a:extLst>
              <a:ext uri="{FF2B5EF4-FFF2-40B4-BE49-F238E27FC236}">
                <a16:creationId xmlns:a16="http://schemas.microsoft.com/office/drawing/2014/main" id="{8D206A1C-8FEB-4BCF-86BC-E13CFD831C85}"/>
              </a:ext>
            </a:extLst>
          </p:cNvPr>
          <p:cNvSpPr txBox="1">
            <a:spLocks/>
          </p:cNvSpPr>
          <p:nvPr userDrawn="1"/>
        </p:nvSpPr>
        <p:spPr bwMode="gray">
          <a:xfrm>
            <a:off x="484495" y="841253"/>
            <a:ext cx="7923832" cy="9627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1008126" rtl="0" eaLnBrk="1" fontAlgn="auto" latinLnBrk="0" hangingPunct="1">
              <a:lnSpc>
                <a:spcPct val="90000"/>
              </a:lnSpc>
              <a:spcBef>
                <a:spcPct val="0"/>
              </a:spcBef>
              <a:spcAft>
                <a:spcPts val="0"/>
              </a:spcAft>
              <a:buClrTx/>
              <a:buSzTx/>
              <a:buFontTx/>
              <a:buNone/>
              <a:tabLst/>
              <a:defRPr/>
            </a:pPr>
            <a:endParaRPr kumimoji="0" lang="en-GB" sz="4851" b="0" i="0" u="none" strike="noStrike" kern="1200" cap="none" spc="0" normalizeH="0" baseline="0" noProof="0">
              <a:ln>
                <a:noFill/>
              </a:ln>
              <a:solidFill>
                <a:prstClr val="black"/>
              </a:solidFill>
              <a:effectLst/>
              <a:uLnTx/>
              <a:uFillTx/>
              <a:latin typeface="Century Gothic"/>
              <a:ea typeface="+mj-ea"/>
              <a:cs typeface="+mj-cs"/>
            </a:endParaRPr>
          </a:p>
        </p:txBody>
      </p:sp>
      <p:sp>
        <p:nvSpPr>
          <p:cNvPr id="2" name="Rechteck 1">
            <a:extLst>
              <a:ext uri="{FF2B5EF4-FFF2-40B4-BE49-F238E27FC236}">
                <a16:creationId xmlns:a16="http://schemas.microsoft.com/office/drawing/2014/main" id="{CBBAABF4-C7B6-4339-BD6B-CDC1D4CCB97B}"/>
              </a:ext>
            </a:extLst>
          </p:cNvPr>
          <p:cNvSpPr/>
          <p:nvPr userDrawn="1"/>
        </p:nvSpPr>
        <p:spPr bwMode="gray">
          <a:xfrm>
            <a:off x="1816274" y="7164888"/>
            <a:ext cx="10183660" cy="3006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err="1">
              <a:solidFill>
                <a:schemeClr val="tx1"/>
              </a:solidFill>
            </a:endParaRPr>
          </a:p>
        </p:txBody>
      </p:sp>
    </p:spTree>
    <p:extLst>
      <p:ext uri="{BB962C8B-B14F-4D97-AF65-F5344CB8AC3E}">
        <p14:creationId xmlns:p14="http://schemas.microsoft.com/office/powerpoint/2010/main" val="2078308060"/>
      </p:ext>
    </p:extLst>
  </p:cSld>
  <p:clrMapOvr>
    <a:masterClrMapping/>
  </p:clrMapOvr>
  <p:extLst>
    <p:ext uri="{DCECCB84-F9BA-43D5-87BE-67443E8EF086}">
      <p15:sldGuideLst xmlns:p15="http://schemas.microsoft.com/office/powerpoint/2012/main">
        <p15:guide id="1" pos="308">
          <p15:clr>
            <a:srgbClr val="FBAE40"/>
          </p15:clr>
        </p15:guide>
        <p15:guide id="2" pos="149">
          <p15:clr>
            <a:srgbClr val="FBAE40"/>
          </p15:clr>
        </p15:guide>
        <p15:guide id="3" pos="6091">
          <p15:clr>
            <a:srgbClr val="FBAE40"/>
          </p15:clr>
        </p15:guide>
        <p15:guide id="4" pos="5932">
          <p15:clr>
            <a:srgbClr val="FBAE40"/>
          </p15:clr>
        </p15:guide>
        <p15:guide id="5" orient="horz" pos="164">
          <p15:clr>
            <a:srgbClr val="FBAE40"/>
          </p15:clr>
        </p15:guide>
        <p15:guide id="6" orient="horz" pos="323">
          <p15:clr>
            <a:srgbClr val="FBAE40"/>
          </p15:clr>
        </p15:guide>
        <p15:guide id="7" orient="horz" pos="482">
          <p15:clr>
            <a:srgbClr val="FBAE40"/>
          </p15:clr>
        </p15:guide>
        <p15:guide id="8" orient="horz" pos="640">
          <p15:clr>
            <a:srgbClr val="FBAE40"/>
          </p15:clr>
        </p15:guide>
        <p15:guide id="9" orient="horz" pos="4178">
          <p15:clr>
            <a:srgbClr val="FBAE40"/>
          </p15:clr>
        </p15:guide>
        <p15:guide id="10" orient="horz" pos="4020">
          <p15:clr>
            <a:srgbClr val="FBAE40"/>
          </p15:clr>
        </p15:guide>
        <p15:guide id="11" orient="horz" pos="3861">
          <p15:clr>
            <a:srgbClr val="FBAE40"/>
          </p15:clr>
        </p15:guide>
        <p15:guide id="12" orient="horz" pos="370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6457E-C045-409B-9E41-272639EBBF49}"/>
              </a:ext>
            </a:extLst>
          </p:cNvPr>
          <p:cNvSpPr>
            <a:spLocks noGrp="1"/>
          </p:cNvSpPr>
          <p:nvPr>
            <p:ph type="title"/>
          </p:nvPr>
        </p:nvSpPr>
        <p:spPr bwMode="gray">
          <a:xfrm>
            <a:off x="635000" y="471294"/>
            <a:ext cx="11126940" cy="443106"/>
          </a:xfrm>
        </p:spPr>
        <p:txBody>
          <a:bodyPr/>
          <a:lstStyle/>
          <a:p>
            <a:r>
              <a:rPr lang="en-US"/>
              <a:t>Click to edit Master title style</a:t>
            </a:r>
          </a:p>
        </p:txBody>
      </p:sp>
      <p:sp>
        <p:nvSpPr>
          <p:cNvPr id="4" name="Inhaltsplatzhalter 3">
            <a:extLst>
              <a:ext uri="{FF2B5EF4-FFF2-40B4-BE49-F238E27FC236}">
                <a16:creationId xmlns:a16="http://schemas.microsoft.com/office/drawing/2014/main" id="{3E4585BF-A1DF-44A2-A42E-5ECE174B4AD8}"/>
              </a:ext>
            </a:extLst>
          </p:cNvPr>
          <p:cNvSpPr>
            <a:spLocks noGrp="1"/>
          </p:cNvSpPr>
          <p:nvPr>
            <p:ph sz="quarter" idx="10"/>
          </p:nvPr>
        </p:nvSpPr>
        <p:spPr>
          <a:xfrm>
            <a:off x="635000" y="1417638"/>
            <a:ext cx="12492038"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7989129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4" name="Inhaltsplatzhalter 3">
            <a:extLst>
              <a:ext uri="{FF2B5EF4-FFF2-40B4-BE49-F238E27FC236}">
                <a16:creationId xmlns:a16="http://schemas.microsoft.com/office/drawing/2014/main" id="{15901380-0C8F-475D-B2B0-AD83FA8B0FC9}"/>
              </a:ext>
            </a:extLst>
          </p:cNvPr>
          <p:cNvSpPr>
            <a:spLocks noGrp="1"/>
          </p:cNvSpPr>
          <p:nvPr>
            <p:ph sz="quarter" idx="23"/>
          </p:nvPr>
        </p:nvSpPr>
        <p:spPr>
          <a:xfrm>
            <a:off x="634634" y="1417643"/>
            <a:ext cx="6086847" cy="5500687"/>
          </a:xfrm>
        </p:spPr>
        <p:txBody>
          <a:bodyPr vert="horz" lIns="91440" tIns="45720" rIns="91440" bIns="45720" rtlCol="0">
            <a:normAutofit/>
          </a:bodyPr>
          <a:lstStyle>
            <a:lvl1pPr>
              <a:lnSpc>
                <a:spcPct val="100000"/>
              </a:lnSpc>
              <a:spcAft>
                <a:spcPts val="0"/>
              </a:spcAft>
              <a:defRPr lang="de-DE" sz="3249" b="0"/>
            </a:lvl1pPr>
            <a:lvl2pPr>
              <a:lnSpc>
                <a:spcPct val="100000"/>
              </a:lnSpc>
              <a:spcAft>
                <a:spcPts val="0"/>
              </a:spcAft>
              <a:defRPr lang="de-DE" sz="2842"/>
            </a:lvl2pPr>
            <a:lvl3pPr>
              <a:lnSpc>
                <a:spcPct val="100000"/>
              </a:lnSpc>
              <a:spcAft>
                <a:spcPts val="0"/>
              </a:spcAft>
              <a:defRPr lang="de-DE" sz="2435"/>
            </a:lvl3pPr>
            <a:lvl4pPr>
              <a:lnSpc>
                <a:spcPct val="100000"/>
              </a:lnSpc>
              <a:spcAft>
                <a:spcPts val="0"/>
              </a:spcAft>
              <a:defRPr lang="de-DE" sz="2029"/>
            </a:lvl4pPr>
            <a:lvl5pPr>
              <a:lnSpc>
                <a:spcPct val="100000"/>
              </a:lnSpc>
              <a:spcAft>
                <a:spcPts val="0"/>
              </a:spcAft>
              <a:defRPr lang="de-AT" sz="2029"/>
            </a:lvl5pPr>
          </a:lstStyle>
          <a:p>
            <a:pPr lvl="0" defTabSz="928222">
              <a:buFont typeface="Arial" panose="020B0604020202020204" pitchFamily="34" charset="0"/>
            </a:pPr>
            <a:r>
              <a:rPr lang="de-DE"/>
              <a:t>Mastertextformat bearbeiten</a:t>
            </a:r>
          </a:p>
          <a:p>
            <a:pPr marL="464110" lvl="1" defTabSz="928222">
              <a:spcBef>
                <a:spcPct val="20000"/>
              </a:spcBef>
              <a:buFont typeface="Arial" panose="020B0604020202020204" pitchFamily="34" charset="0"/>
            </a:pPr>
            <a:r>
              <a:rPr lang="de-DE"/>
              <a:t>Zweite Ebene</a:t>
            </a:r>
          </a:p>
          <a:p>
            <a:pPr marL="928222" lvl="2" indent="0" defTabSz="928222">
              <a:spcBef>
                <a:spcPct val="20000"/>
              </a:spcBef>
              <a:buFont typeface="Arial" panose="020B0604020202020204" pitchFamily="34" charset="0"/>
              <a:buNone/>
            </a:pPr>
            <a:r>
              <a:rPr lang="de-DE"/>
              <a:t>Dritte Ebene</a:t>
            </a:r>
          </a:p>
          <a:p>
            <a:pPr marL="1392332" lvl="3" indent="0" defTabSz="928222">
              <a:spcBef>
                <a:spcPct val="20000"/>
              </a:spcBef>
              <a:buFont typeface="Arial" panose="020B0604020202020204" pitchFamily="34" charset="0"/>
              <a:buNone/>
            </a:pPr>
            <a:r>
              <a:rPr lang="de-DE"/>
              <a:t>Vierte Ebene</a:t>
            </a:r>
          </a:p>
          <a:p>
            <a:pPr marL="1856444" lvl="4" indent="0" defTabSz="928222">
              <a:spcBef>
                <a:spcPct val="20000"/>
              </a:spcBef>
              <a:buFont typeface="Arial" panose="020B0604020202020204" pitchFamily="34" charset="0"/>
              <a:buNone/>
            </a:pPr>
            <a:r>
              <a:rPr lang="de-DE"/>
              <a:t>Fünfte Ebene</a:t>
            </a:r>
            <a:endParaRPr lang="de-AT"/>
          </a:p>
        </p:txBody>
      </p:sp>
      <p:sp>
        <p:nvSpPr>
          <p:cNvPr id="6" name="Inhaltsplatzhalter 5">
            <a:extLst>
              <a:ext uri="{FF2B5EF4-FFF2-40B4-BE49-F238E27FC236}">
                <a16:creationId xmlns:a16="http://schemas.microsoft.com/office/drawing/2014/main" id="{E0C8022F-FBA9-40AD-909C-8DE2D99BAE20}"/>
              </a:ext>
            </a:extLst>
          </p:cNvPr>
          <p:cNvSpPr>
            <a:spLocks noGrp="1"/>
          </p:cNvSpPr>
          <p:nvPr>
            <p:ph sz="quarter" idx="24"/>
          </p:nvPr>
        </p:nvSpPr>
        <p:spPr>
          <a:xfrm>
            <a:off x="7038790" y="1417643"/>
            <a:ext cx="6088843" cy="5500687"/>
          </a:xfrm>
        </p:spPr>
        <p:txBody>
          <a:bodyPr vert="horz" lIns="91440" tIns="45720" rIns="91440" bIns="45720" rtlCol="0">
            <a:normAutofit/>
          </a:bodyPr>
          <a:lstStyle>
            <a:lvl1pPr>
              <a:lnSpc>
                <a:spcPct val="100000"/>
              </a:lnSpc>
              <a:defRPr lang="de-DE" sz="1320" b="0">
                <a:latin typeface="Century Gothic" panose="020B0502020202020204" pitchFamily="34" charset="0"/>
              </a:defRPr>
            </a:lvl1pPr>
            <a:lvl2pPr>
              <a:lnSpc>
                <a:spcPct val="100000"/>
              </a:lnSpc>
              <a:defRPr lang="de-DE" sz="1320">
                <a:latin typeface="Century Gothic" panose="020B0502020202020204" pitchFamily="34" charset="0"/>
              </a:defRPr>
            </a:lvl2pPr>
            <a:lvl3pPr>
              <a:lnSpc>
                <a:spcPct val="100000"/>
              </a:lnSpc>
              <a:defRPr lang="de-DE" sz="1320">
                <a:latin typeface="Century Gothic" panose="020B0502020202020204" pitchFamily="34" charset="0"/>
              </a:defRPr>
            </a:lvl3pPr>
            <a:lvl4pPr>
              <a:lnSpc>
                <a:spcPct val="100000"/>
              </a:lnSpc>
              <a:defRPr lang="de-DE" sz="1320">
                <a:latin typeface="Century Gothic" panose="020B0502020202020204" pitchFamily="34" charset="0"/>
              </a:defRPr>
            </a:lvl4pPr>
            <a:lvl5pPr>
              <a:lnSpc>
                <a:spcPct val="100000"/>
              </a:lnSpc>
              <a:defRPr lang="de-AT" sz="1320">
                <a:latin typeface="Century Gothic" panose="020B0502020202020204" pitchFamily="34" charset="0"/>
              </a:defRPr>
            </a:lvl5pPr>
          </a:lstStyle>
          <a:p>
            <a:pPr marL="186375" lvl="0" indent="-186375" algn="just" defTabSz="928222">
              <a:spcBef>
                <a:spcPts val="101"/>
              </a:spcBef>
              <a:spcAft>
                <a:spcPts val="101"/>
              </a:spcAft>
              <a:buSzPct val="140000"/>
              <a:buFont typeface="Wingdings" panose="05000000000000000000" pitchFamily="2" charset="2"/>
              <a:buChar char="§"/>
            </a:pPr>
            <a:r>
              <a:rPr lang="de-DE"/>
              <a:t>Mastertextformat bearbeiten</a:t>
            </a:r>
          </a:p>
          <a:p>
            <a:pPr marL="754180" lvl="1" indent="-290070" algn="just" defTabSz="928222">
              <a:spcBef>
                <a:spcPct val="20000"/>
              </a:spcBef>
              <a:buSzPct val="120000"/>
              <a:buFont typeface="Arial" panose="020B0604020202020204" pitchFamily="34" charset="0"/>
              <a:buChar char="–"/>
            </a:pPr>
            <a:r>
              <a:rPr lang="de-DE"/>
              <a:t>Zweite Ebene</a:t>
            </a:r>
          </a:p>
          <a:p>
            <a:pPr marL="1160277" lvl="2" indent="-232055" algn="just" defTabSz="928222">
              <a:spcBef>
                <a:spcPct val="20000"/>
              </a:spcBef>
              <a:buSzPct val="120000"/>
              <a:buFont typeface="Arial" panose="020B0604020202020204" pitchFamily="34" charset="0"/>
              <a:buChar char="•"/>
            </a:pPr>
            <a:r>
              <a:rPr lang="de-DE"/>
              <a:t>Dritte Ebene</a:t>
            </a:r>
          </a:p>
          <a:p>
            <a:pPr marL="1624389" lvl="3" indent="-232055" algn="just" defTabSz="928222">
              <a:spcBef>
                <a:spcPct val="20000"/>
              </a:spcBef>
              <a:buSzPct val="120000"/>
              <a:buFont typeface="Arial" panose="020B0604020202020204" pitchFamily="34" charset="0"/>
              <a:buChar char="–"/>
            </a:pPr>
            <a:r>
              <a:rPr lang="de-DE"/>
              <a:t>Vierte Ebene</a:t>
            </a:r>
          </a:p>
          <a:p>
            <a:pPr marL="2088499" lvl="4" indent="-232055" algn="just" defTabSz="928222">
              <a:spcBef>
                <a:spcPct val="20000"/>
              </a:spcBef>
              <a:buSzPct val="120000"/>
              <a:buFont typeface="Arial" panose="020B0604020202020204" pitchFamily="34" charset="0"/>
              <a:buChar char="»"/>
            </a:pPr>
            <a:r>
              <a:rPr lang="de-DE"/>
              <a:t>Fünfte Ebene</a:t>
            </a:r>
            <a:endParaRPr lang="de-AT"/>
          </a:p>
        </p:txBody>
      </p:sp>
    </p:spTree>
    <p:extLst>
      <p:ext uri="{BB962C8B-B14F-4D97-AF65-F5344CB8AC3E}">
        <p14:creationId xmlns:p14="http://schemas.microsoft.com/office/powerpoint/2010/main" val="2864784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CBA2A-48B0-4876-8013-FC72DEEE489C}"/>
              </a:ext>
            </a:extLst>
          </p:cNvPr>
          <p:cNvSpPr>
            <a:spLocks noGrp="1"/>
          </p:cNvSpPr>
          <p:nvPr>
            <p:ph type="title"/>
          </p:nvPr>
        </p:nvSpPr>
        <p:spPr bwMode="gray"/>
        <p:txBody>
          <a:bodyPr/>
          <a:lstStyle>
            <a:lvl1pPr>
              <a:defRPr sz="2400"/>
            </a:lvl1pPr>
          </a:lstStyle>
          <a:p>
            <a:r>
              <a:rPr lang="en-US"/>
              <a:t>Click to edit Master title style</a:t>
            </a:r>
          </a:p>
        </p:txBody>
      </p:sp>
    </p:spTree>
    <p:extLst>
      <p:ext uri="{BB962C8B-B14F-4D97-AF65-F5344CB8AC3E}">
        <p14:creationId xmlns:p14="http://schemas.microsoft.com/office/powerpoint/2010/main" val="13092169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FCF9DA-4F53-73B2-B6A2-11213F89E385}"/>
              </a:ext>
            </a:extLst>
          </p:cNvPr>
          <p:cNvSpPr>
            <a:spLocks noGrp="1"/>
          </p:cNvSpPr>
          <p:nvPr>
            <p:ph type="ctrTitle"/>
          </p:nvPr>
        </p:nvSpPr>
        <p:spPr>
          <a:xfrm>
            <a:off x="1681163" y="1238250"/>
            <a:ext cx="10082212" cy="2632075"/>
          </a:xfrm>
        </p:spPr>
        <p:txBody>
          <a:bodyPr anchor="b"/>
          <a:lstStyle>
            <a:lvl1pPr algn="ctr">
              <a:defRPr sz="6000"/>
            </a:lvl1pPr>
          </a:lstStyle>
          <a:p>
            <a:r>
              <a:rPr lang="de-DE"/>
              <a:t>Mastertitelformat bearbeiten</a:t>
            </a:r>
            <a:endParaRPr lang="de-AT"/>
          </a:p>
        </p:txBody>
      </p:sp>
      <p:sp>
        <p:nvSpPr>
          <p:cNvPr id="3" name="Untertitel 2">
            <a:extLst>
              <a:ext uri="{FF2B5EF4-FFF2-40B4-BE49-F238E27FC236}">
                <a16:creationId xmlns:a16="http://schemas.microsoft.com/office/drawing/2014/main" id="{1038B336-6BB2-895F-B92E-200CDDBCBD97}"/>
              </a:ext>
            </a:extLst>
          </p:cNvPr>
          <p:cNvSpPr>
            <a:spLocks noGrp="1"/>
          </p:cNvSpPr>
          <p:nvPr>
            <p:ph type="subTitle" idx="1"/>
          </p:nvPr>
        </p:nvSpPr>
        <p:spPr>
          <a:xfrm>
            <a:off x="1681163" y="3971925"/>
            <a:ext cx="10082212" cy="18256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AT"/>
          </a:p>
        </p:txBody>
      </p:sp>
      <p:sp>
        <p:nvSpPr>
          <p:cNvPr id="4" name="Datumsplatzhalter 3">
            <a:extLst>
              <a:ext uri="{FF2B5EF4-FFF2-40B4-BE49-F238E27FC236}">
                <a16:creationId xmlns:a16="http://schemas.microsoft.com/office/drawing/2014/main" id="{F3C60AD2-6F8E-A365-D978-3B312D21972D}"/>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5" name="Fußzeilenplatzhalter 4">
            <a:extLst>
              <a:ext uri="{FF2B5EF4-FFF2-40B4-BE49-F238E27FC236}">
                <a16:creationId xmlns:a16="http://schemas.microsoft.com/office/drawing/2014/main" id="{66C21510-74F9-5394-2C89-16AEDC153CFE}"/>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02D49712-1D2A-7928-7818-746019D9A158}"/>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29320935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8F78FE-5452-E703-C6EC-D57579D3AD68}"/>
              </a:ext>
            </a:extLst>
          </p:cNvPr>
          <p:cNvSpPr>
            <a:spLocks noGrp="1"/>
          </p:cNvSpPr>
          <p:nvPr>
            <p:ph type="title"/>
          </p:nvPr>
        </p:nvSpPr>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14EF1C06-4F44-F33C-1D95-628FCF6BB17E}"/>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A39E6A2C-D33A-6164-BF72-DD7187C5169B}"/>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5" name="Fußzeilenplatzhalter 4">
            <a:extLst>
              <a:ext uri="{FF2B5EF4-FFF2-40B4-BE49-F238E27FC236}">
                <a16:creationId xmlns:a16="http://schemas.microsoft.com/office/drawing/2014/main" id="{501739BB-64CA-C1A3-95A3-68C527A7AD11}"/>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BBDBE6E6-C483-D385-D9C5-35E510338348}"/>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41733257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564B50-0724-58B7-58C4-AC714E13BE8C}"/>
              </a:ext>
            </a:extLst>
          </p:cNvPr>
          <p:cNvSpPr>
            <a:spLocks noGrp="1"/>
          </p:cNvSpPr>
          <p:nvPr>
            <p:ph type="title"/>
          </p:nvPr>
        </p:nvSpPr>
        <p:spPr>
          <a:xfrm>
            <a:off x="917575" y="1884363"/>
            <a:ext cx="11593513" cy="3146425"/>
          </a:xfrm>
        </p:spPr>
        <p:txBody>
          <a:bodyPr anchor="b"/>
          <a:lstStyle>
            <a:lvl1pPr>
              <a:defRPr sz="6000"/>
            </a:lvl1pPr>
          </a:lstStyle>
          <a:p>
            <a:r>
              <a:rPr lang="de-DE"/>
              <a:t>Mastertitelformat bearbeiten</a:t>
            </a:r>
            <a:endParaRPr lang="de-AT"/>
          </a:p>
        </p:txBody>
      </p:sp>
      <p:sp>
        <p:nvSpPr>
          <p:cNvPr id="3" name="Textplatzhalter 2">
            <a:extLst>
              <a:ext uri="{FF2B5EF4-FFF2-40B4-BE49-F238E27FC236}">
                <a16:creationId xmlns:a16="http://schemas.microsoft.com/office/drawing/2014/main" id="{283D896C-3CBB-1643-9155-933F9DA042F1}"/>
              </a:ext>
            </a:extLst>
          </p:cNvPr>
          <p:cNvSpPr>
            <a:spLocks noGrp="1"/>
          </p:cNvSpPr>
          <p:nvPr>
            <p:ph type="body" idx="1"/>
          </p:nvPr>
        </p:nvSpPr>
        <p:spPr>
          <a:xfrm>
            <a:off x="917575" y="5059363"/>
            <a:ext cx="11593513" cy="165417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8D302C8F-A93A-2F39-D6B0-209BBF6F4233}"/>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5" name="Fußzeilenplatzhalter 4">
            <a:extLst>
              <a:ext uri="{FF2B5EF4-FFF2-40B4-BE49-F238E27FC236}">
                <a16:creationId xmlns:a16="http://schemas.microsoft.com/office/drawing/2014/main" id="{4F838177-D106-E572-7869-C519C7DA1858}"/>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C2108F11-C9A7-AF99-4B8F-C24B20629EF6}"/>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36139495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5D247-457D-9AF4-ACA5-8249940CDEC4}"/>
              </a:ext>
            </a:extLst>
          </p:cNvPr>
          <p:cNvSpPr>
            <a:spLocks noGrp="1"/>
          </p:cNvSpPr>
          <p:nvPr>
            <p:ph type="title"/>
          </p:nvPr>
        </p:nvSpPr>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DA8AC770-477B-2ACD-51A1-7581E4D7AD99}"/>
              </a:ext>
            </a:extLst>
          </p:cNvPr>
          <p:cNvSpPr>
            <a:spLocks noGrp="1"/>
          </p:cNvSpPr>
          <p:nvPr>
            <p:ph sz="half" idx="1"/>
          </p:nvPr>
        </p:nvSpPr>
        <p:spPr>
          <a:xfrm>
            <a:off x="923925" y="2012950"/>
            <a:ext cx="5721350" cy="47974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a:extLst>
              <a:ext uri="{FF2B5EF4-FFF2-40B4-BE49-F238E27FC236}">
                <a16:creationId xmlns:a16="http://schemas.microsoft.com/office/drawing/2014/main" id="{D8B2C6F1-8DFD-A637-A916-A5F3E54F2F05}"/>
              </a:ext>
            </a:extLst>
          </p:cNvPr>
          <p:cNvSpPr>
            <a:spLocks noGrp="1"/>
          </p:cNvSpPr>
          <p:nvPr>
            <p:ph sz="half" idx="2"/>
          </p:nvPr>
        </p:nvSpPr>
        <p:spPr>
          <a:xfrm>
            <a:off x="6797675" y="2012950"/>
            <a:ext cx="5721350" cy="47974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a:extLst>
              <a:ext uri="{FF2B5EF4-FFF2-40B4-BE49-F238E27FC236}">
                <a16:creationId xmlns:a16="http://schemas.microsoft.com/office/drawing/2014/main" id="{E64FF71E-C042-C6E3-99CA-FC83E7B1A335}"/>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6" name="Fußzeilenplatzhalter 5">
            <a:extLst>
              <a:ext uri="{FF2B5EF4-FFF2-40B4-BE49-F238E27FC236}">
                <a16:creationId xmlns:a16="http://schemas.microsoft.com/office/drawing/2014/main" id="{95BE5B42-D86F-218E-51AC-14C8F05787E0}"/>
              </a:ext>
            </a:extLst>
          </p:cNvPr>
          <p:cNvSpPr>
            <a:spLocks noGrp="1"/>
          </p:cNvSpPr>
          <p:nvPr>
            <p:ph type="ftr" sz="quarter" idx="11"/>
          </p:nvPr>
        </p:nvSpPr>
        <p:spPr/>
        <p:txBody>
          <a:bodyPr/>
          <a:lstStyle/>
          <a:p>
            <a:endParaRPr lang="de-AT"/>
          </a:p>
        </p:txBody>
      </p:sp>
      <p:sp>
        <p:nvSpPr>
          <p:cNvPr id="7" name="Foliennummernplatzhalter 6">
            <a:extLst>
              <a:ext uri="{FF2B5EF4-FFF2-40B4-BE49-F238E27FC236}">
                <a16:creationId xmlns:a16="http://schemas.microsoft.com/office/drawing/2014/main" id="{F54B959D-35EF-B718-1ED8-0155DD704A9E}"/>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3497698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pic>
        <p:nvPicPr>
          <p:cNvPr id="12" name="Picture Placeholder 6">
            <a:extLst>
              <a:ext uri="{FF2B5EF4-FFF2-40B4-BE49-F238E27FC236}">
                <a16:creationId xmlns:a16="http://schemas.microsoft.com/office/drawing/2014/main" id="{ECFCF2DE-C213-43CB-8846-E759A56F53AB}"/>
              </a:ext>
            </a:extLst>
          </p:cNvPr>
          <p:cNvPicPr>
            <a:picLocks noChangeAspect="1"/>
          </p:cNvPicPr>
          <p:nvPr userDrawn="1"/>
        </p:nvPicPr>
        <p:blipFill rotWithShape="1">
          <a:blip r:embed="rId5"/>
          <a:srcRect l="7552" r="22652"/>
          <a:stretch/>
        </p:blipFill>
        <p:spPr bwMode="gray">
          <a:xfrm>
            <a:off x="3" y="462355"/>
            <a:ext cx="13442950" cy="7098908"/>
          </a:xfrm>
          <a:prstGeom prst="rect">
            <a:avLst/>
          </a:prstGeom>
        </p:spPr>
      </p:pic>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userDrawn="1">
            <p:custDataLst>
              <p:tags r:id="rId2"/>
            </p:custDataLst>
            <p:extLst>
              <p:ext uri="{D42A27DB-BD31-4B8C-83A1-F6EECF244321}">
                <p14:modId xmlns:p14="http://schemas.microsoft.com/office/powerpoint/2010/main" val="3764769922"/>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4100" name="think-cell Slide" r:id="rId6" imgW="351" imgH="351" progId="TCLayout.ActiveDocument.1">
                  <p:embed/>
                </p:oleObj>
              </mc:Choice>
              <mc:Fallback>
                <p:oleObj name="think-cell Slide" r:id="rId6"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7"/>
                      <a:stretch>
                        <a:fillRect/>
                      </a:stretch>
                    </p:blipFill>
                    <p:spPr>
                      <a:xfrm>
                        <a:off x="1998" y="1588"/>
                        <a:ext cx="199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52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2" y="0"/>
            <a:ext cx="1344295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634628" y="4975348"/>
            <a:ext cx="10525255" cy="2081094"/>
          </a:xfrm>
          <a:prstGeom prst="rect">
            <a:avLst/>
          </a:prstGeom>
          <a:solidFill>
            <a:schemeClr val="accent1">
              <a:alpha val="74902"/>
            </a:schemeClr>
          </a:solidFill>
        </p:spPr>
        <p:txBody>
          <a:bodyPr wrap="square" lIns="216000" tIns="180000" rIns="216000" bIns="1260000" anchor="b" anchorCtr="0">
            <a:spAutoFit/>
          </a:bodyPr>
          <a:lstStyle>
            <a:lvl1pPr algn="l">
              <a:defRPr sz="4527" b="1">
                <a:latin typeface="Amalia" panose="020B0504020203020204" pitchFamily="34" charset="0"/>
              </a:defRPr>
            </a:lvl1pPr>
          </a:lstStyle>
          <a:p>
            <a:r>
              <a:rPr lang="de-DE"/>
              <a:t>Mastertitelformat bearbeiten</a:t>
            </a:r>
            <a:endParaRPr lang="en-US"/>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634630" y="5869785"/>
            <a:ext cx="10525254" cy="1048545"/>
          </a:xfrm>
        </p:spPr>
        <p:txBody>
          <a:bodyPr lIns="216000" rIns="216000" anchor="t" anchorCtr="0"/>
          <a:lstStyle>
            <a:lvl1pPr marL="0" indent="0" algn="l">
              <a:buNone/>
              <a:defRPr sz="2011" b="0">
                <a:latin typeface="Amalia" panose="020B0504020203020204" pitchFamily="34" charset="0"/>
              </a:defRPr>
            </a:lvl1pPr>
            <a:lvl2pPr marL="0" indent="0" algn="l">
              <a:buNone/>
              <a:defRPr sz="2011">
                <a:solidFill>
                  <a:schemeClr val="tx1"/>
                </a:solidFill>
              </a:defRPr>
            </a:lvl2pPr>
            <a:lvl3pPr marL="0" indent="0" algn="l">
              <a:buNone/>
              <a:defRPr sz="2011">
                <a:solidFill>
                  <a:schemeClr val="tx1"/>
                </a:solidFill>
              </a:defRPr>
            </a:lvl3pPr>
            <a:lvl4pPr marL="0" indent="0" algn="l">
              <a:buNone/>
              <a:defRPr sz="2011">
                <a:solidFill>
                  <a:schemeClr val="tx1"/>
                </a:solidFill>
              </a:defRPr>
            </a:lvl4pPr>
            <a:lvl5pPr marL="0" indent="0" algn="l">
              <a:buNone/>
              <a:defRPr sz="2011">
                <a:solidFill>
                  <a:schemeClr val="tx1"/>
                </a:solidFill>
              </a:defRPr>
            </a:lvl5pPr>
            <a:lvl6pPr marL="0" indent="0" algn="l">
              <a:buNone/>
              <a:defRPr sz="2011">
                <a:solidFill>
                  <a:schemeClr val="tx1"/>
                </a:solidFill>
              </a:defRPr>
            </a:lvl6pPr>
            <a:lvl7pPr marL="0" indent="0" algn="l">
              <a:buNone/>
              <a:defRPr sz="2011">
                <a:solidFill>
                  <a:schemeClr val="tx1"/>
                </a:solidFill>
              </a:defRPr>
            </a:lvl7pPr>
            <a:lvl8pPr marL="0" indent="0" algn="l">
              <a:buNone/>
              <a:defRPr sz="2011">
                <a:solidFill>
                  <a:schemeClr val="tx1"/>
                </a:solidFill>
              </a:defRPr>
            </a:lvl8pPr>
            <a:lvl9pPr marL="0" indent="0" algn="l">
              <a:buNone/>
              <a:defRPr sz="2011">
                <a:solidFill>
                  <a:schemeClr val="tx1"/>
                </a:solidFill>
              </a:defRPr>
            </a:lvl9pPr>
          </a:lstStyle>
          <a:p>
            <a:pPr lvl="0"/>
            <a:r>
              <a:rPr lang="de-DE"/>
              <a:t>Master-Untertitelformat bearbeiten</a:t>
            </a:r>
            <a:endParaRPr lang="en-US"/>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userDrawn="1"/>
        </p:nvCxnSpPr>
        <p:spPr bwMode="gray">
          <a:xfrm>
            <a:off x="2" y="438150"/>
            <a:ext cx="134429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9" descr="A close up of a sign&#10;&#10;Description automatically generated">
            <a:extLst>
              <a:ext uri="{FF2B5EF4-FFF2-40B4-BE49-F238E27FC236}">
                <a16:creationId xmlns:a16="http://schemas.microsoft.com/office/drawing/2014/main" id="{B9E21669-770C-4564-9CDC-2DAE0BA4370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134895" y="84374"/>
            <a:ext cx="1055553" cy="252181"/>
          </a:xfrm>
          <a:prstGeom prst="rect">
            <a:avLst/>
          </a:prstGeom>
        </p:spPr>
      </p:pic>
    </p:spTree>
    <p:extLst>
      <p:ext uri="{BB962C8B-B14F-4D97-AF65-F5344CB8AC3E}">
        <p14:creationId xmlns:p14="http://schemas.microsoft.com/office/powerpoint/2010/main" val="1989608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E27ABC-B553-3187-4000-FA2823D0686E}"/>
              </a:ext>
            </a:extLst>
          </p:cNvPr>
          <p:cNvSpPr>
            <a:spLocks noGrp="1"/>
          </p:cNvSpPr>
          <p:nvPr>
            <p:ph type="title"/>
          </p:nvPr>
        </p:nvSpPr>
        <p:spPr>
          <a:xfrm>
            <a:off x="925513" y="403225"/>
            <a:ext cx="11595100" cy="1460500"/>
          </a:xfrm>
        </p:spPr>
        <p:txBody>
          <a:bodyPr/>
          <a:lstStyle/>
          <a:p>
            <a:r>
              <a:rPr lang="de-DE"/>
              <a:t>Mastertitelformat bearbeiten</a:t>
            </a:r>
            <a:endParaRPr lang="de-AT"/>
          </a:p>
        </p:txBody>
      </p:sp>
      <p:sp>
        <p:nvSpPr>
          <p:cNvPr id="3" name="Textplatzhalter 2">
            <a:extLst>
              <a:ext uri="{FF2B5EF4-FFF2-40B4-BE49-F238E27FC236}">
                <a16:creationId xmlns:a16="http://schemas.microsoft.com/office/drawing/2014/main" id="{4EA2DE1B-5875-06C0-5343-7CE4E7B03FFF}"/>
              </a:ext>
            </a:extLst>
          </p:cNvPr>
          <p:cNvSpPr>
            <a:spLocks noGrp="1"/>
          </p:cNvSpPr>
          <p:nvPr>
            <p:ph type="body" idx="1"/>
          </p:nvPr>
        </p:nvSpPr>
        <p:spPr>
          <a:xfrm>
            <a:off x="925513" y="1854200"/>
            <a:ext cx="5688012"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89887614-2254-820B-0921-E04520433EF7}"/>
              </a:ext>
            </a:extLst>
          </p:cNvPr>
          <p:cNvSpPr>
            <a:spLocks noGrp="1"/>
          </p:cNvSpPr>
          <p:nvPr>
            <p:ph sz="half" idx="2"/>
          </p:nvPr>
        </p:nvSpPr>
        <p:spPr>
          <a:xfrm>
            <a:off x="925513" y="2762250"/>
            <a:ext cx="5688012" cy="40624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a:extLst>
              <a:ext uri="{FF2B5EF4-FFF2-40B4-BE49-F238E27FC236}">
                <a16:creationId xmlns:a16="http://schemas.microsoft.com/office/drawing/2014/main" id="{814128AA-F183-F07E-F385-F28A610B6040}"/>
              </a:ext>
            </a:extLst>
          </p:cNvPr>
          <p:cNvSpPr>
            <a:spLocks noGrp="1"/>
          </p:cNvSpPr>
          <p:nvPr>
            <p:ph type="body" sz="quarter" idx="3"/>
          </p:nvPr>
        </p:nvSpPr>
        <p:spPr>
          <a:xfrm>
            <a:off x="6805613" y="1854200"/>
            <a:ext cx="5715000"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CBC64C96-DCF0-B2A3-E731-0BBD668FD0B4}"/>
              </a:ext>
            </a:extLst>
          </p:cNvPr>
          <p:cNvSpPr>
            <a:spLocks noGrp="1"/>
          </p:cNvSpPr>
          <p:nvPr>
            <p:ph sz="quarter" idx="4"/>
          </p:nvPr>
        </p:nvSpPr>
        <p:spPr>
          <a:xfrm>
            <a:off x="6805613" y="2762250"/>
            <a:ext cx="5715000" cy="40624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Datumsplatzhalter 6">
            <a:extLst>
              <a:ext uri="{FF2B5EF4-FFF2-40B4-BE49-F238E27FC236}">
                <a16:creationId xmlns:a16="http://schemas.microsoft.com/office/drawing/2014/main" id="{32169BC7-AE94-862B-879B-544F515EBF3A}"/>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8" name="Fußzeilenplatzhalter 7">
            <a:extLst>
              <a:ext uri="{FF2B5EF4-FFF2-40B4-BE49-F238E27FC236}">
                <a16:creationId xmlns:a16="http://schemas.microsoft.com/office/drawing/2014/main" id="{EF30A70D-1100-4195-A085-4849E23DE865}"/>
              </a:ext>
            </a:extLst>
          </p:cNvPr>
          <p:cNvSpPr>
            <a:spLocks noGrp="1"/>
          </p:cNvSpPr>
          <p:nvPr>
            <p:ph type="ftr" sz="quarter" idx="11"/>
          </p:nvPr>
        </p:nvSpPr>
        <p:spPr/>
        <p:txBody>
          <a:bodyPr/>
          <a:lstStyle/>
          <a:p>
            <a:endParaRPr lang="de-AT"/>
          </a:p>
        </p:txBody>
      </p:sp>
      <p:sp>
        <p:nvSpPr>
          <p:cNvPr id="9" name="Foliennummernplatzhalter 8">
            <a:extLst>
              <a:ext uri="{FF2B5EF4-FFF2-40B4-BE49-F238E27FC236}">
                <a16:creationId xmlns:a16="http://schemas.microsoft.com/office/drawing/2014/main" id="{CE23DC8D-B098-C2EC-D769-31B9C6CF6106}"/>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31355221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5DCE3D-998A-8CFB-E558-A1922AFC4209}"/>
              </a:ext>
            </a:extLst>
          </p:cNvPr>
          <p:cNvSpPr>
            <a:spLocks noGrp="1"/>
          </p:cNvSpPr>
          <p:nvPr>
            <p:ph type="title"/>
          </p:nvPr>
        </p:nvSpPr>
        <p:spPr/>
        <p:txBody>
          <a:bodyPr/>
          <a:lstStyle/>
          <a:p>
            <a:r>
              <a:rPr lang="de-DE"/>
              <a:t>Mastertitelformat bearbeiten</a:t>
            </a:r>
            <a:endParaRPr lang="de-AT"/>
          </a:p>
        </p:txBody>
      </p:sp>
      <p:sp>
        <p:nvSpPr>
          <p:cNvPr id="3" name="Datumsplatzhalter 2">
            <a:extLst>
              <a:ext uri="{FF2B5EF4-FFF2-40B4-BE49-F238E27FC236}">
                <a16:creationId xmlns:a16="http://schemas.microsoft.com/office/drawing/2014/main" id="{EC586311-E366-F648-A184-B86C061890A8}"/>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4" name="Fußzeilenplatzhalter 3">
            <a:extLst>
              <a:ext uri="{FF2B5EF4-FFF2-40B4-BE49-F238E27FC236}">
                <a16:creationId xmlns:a16="http://schemas.microsoft.com/office/drawing/2014/main" id="{898816DB-AD67-1F21-202B-3E2C95231B6C}"/>
              </a:ext>
            </a:extLst>
          </p:cNvPr>
          <p:cNvSpPr>
            <a:spLocks noGrp="1"/>
          </p:cNvSpPr>
          <p:nvPr>
            <p:ph type="ftr" sz="quarter" idx="11"/>
          </p:nvPr>
        </p:nvSpPr>
        <p:spPr/>
        <p:txBody>
          <a:bodyPr/>
          <a:lstStyle/>
          <a:p>
            <a:endParaRPr lang="de-AT"/>
          </a:p>
        </p:txBody>
      </p:sp>
      <p:sp>
        <p:nvSpPr>
          <p:cNvPr id="5" name="Foliennummernplatzhalter 4">
            <a:extLst>
              <a:ext uri="{FF2B5EF4-FFF2-40B4-BE49-F238E27FC236}">
                <a16:creationId xmlns:a16="http://schemas.microsoft.com/office/drawing/2014/main" id="{A2E1C449-599A-DD89-0EED-55A6F7409722}"/>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5847929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C37EE04A-F74D-9EFE-8243-7C8CCB0EA2F0}"/>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3" name="Fußzeilenplatzhalter 2">
            <a:extLst>
              <a:ext uri="{FF2B5EF4-FFF2-40B4-BE49-F238E27FC236}">
                <a16:creationId xmlns:a16="http://schemas.microsoft.com/office/drawing/2014/main" id="{C6C7B7FA-8FD3-C0D2-57C8-3DBCA8673041}"/>
              </a:ext>
            </a:extLst>
          </p:cNvPr>
          <p:cNvSpPr>
            <a:spLocks noGrp="1"/>
          </p:cNvSpPr>
          <p:nvPr>
            <p:ph type="ftr" sz="quarter" idx="11"/>
          </p:nvPr>
        </p:nvSpPr>
        <p:spPr/>
        <p:txBody>
          <a:bodyPr/>
          <a:lstStyle/>
          <a:p>
            <a:endParaRPr lang="de-AT"/>
          </a:p>
        </p:txBody>
      </p:sp>
      <p:sp>
        <p:nvSpPr>
          <p:cNvPr id="4" name="Foliennummernplatzhalter 3">
            <a:extLst>
              <a:ext uri="{FF2B5EF4-FFF2-40B4-BE49-F238E27FC236}">
                <a16:creationId xmlns:a16="http://schemas.microsoft.com/office/drawing/2014/main" id="{921BA2B8-1D1C-7CBF-9F1C-CF237029CAEF}"/>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14555354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B6177D-6709-AF62-B34F-6F35E036924B}"/>
              </a:ext>
            </a:extLst>
          </p:cNvPr>
          <p:cNvSpPr>
            <a:spLocks noGrp="1"/>
          </p:cNvSpPr>
          <p:nvPr>
            <p:ph type="title"/>
          </p:nvPr>
        </p:nvSpPr>
        <p:spPr>
          <a:xfrm>
            <a:off x="925513" y="504825"/>
            <a:ext cx="4335462" cy="1763713"/>
          </a:xfrm>
        </p:spPr>
        <p:txBody>
          <a:bodyPr anchor="b"/>
          <a:lstStyle>
            <a:lvl1pPr>
              <a:defRPr sz="3200"/>
            </a:lvl1pPr>
          </a:lstStyle>
          <a:p>
            <a:r>
              <a:rPr lang="de-DE"/>
              <a:t>Mastertitelformat bearbeiten</a:t>
            </a:r>
            <a:endParaRPr lang="de-AT"/>
          </a:p>
        </p:txBody>
      </p:sp>
      <p:sp>
        <p:nvSpPr>
          <p:cNvPr id="3" name="Inhaltsplatzhalter 2">
            <a:extLst>
              <a:ext uri="{FF2B5EF4-FFF2-40B4-BE49-F238E27FC236}">
                <a16:creationId xmlns:a16="http://schemas.microsoft.com/office/drawing/2014/main" id="{AAD75887-F812-BA96-1152-F9A037BDD9D0}"/>
              </a:ext>
            </a:extLst>
          </p:cNvPr>
          <p:cNvSpPr>
            <a:spLocks noGrp="1"/>
          </p:cNvSpPr>
          <p:nvPr>
            <p:ph idx="1"/>
          </p:nvPr>
        </p:nvSpPr>
        <p:spPr>
          <a:xfrm>
            <a:off x="5715000" y="1089025"/>
            <a:ext cx="6805613" cy="537368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a:extLst>
              <a:ext uri="{FF2B5EF4-FFF2-40B4-BE49-F238E27FC236}">
                <a16:creationId xmlns:a16="http://schemas.microsoft.com/office/drawing/2014/main" id="{B5DDDFFD-3A5A-0DE9-920D-BD7603CC8645}"/>
              </a:ext>
            </a:extLst>
          </p:cNvPr>
          <p:cNvSpPr>
            <a:spLocks noGrp="1"/>
          </p:cNvSpPr>
          <p:nvPr>
            <p:ph type="body" sz="half" idx="2"/>
          </p:nvPr>
        </p:nvSpPr>
        <p:spPr>
          <a:xfrm>
            <a:off x="925513" y="2268538"/>
            <a:ext cx="4335462" cy="420211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38D00DFA-8472-6F3E-CF79-25487D44767A}"/>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6" name="Fußzeilenplatzhalter 5">
            <a:extLst>
              <a:ext uri="{FF2B5EF4-FFF2-40B4-BE49-F238E27FC236}">
                <a16:creationId xmlns:a16="http://schemas.microsoft.com/office/drawing/2014/main" id="{784953B3-9A97-7DDA-E497-955BF020677D}"/>
              </a:ext>
            </a:extLst>
          </p:cNvPr>
          <p:cNvSpPr>
            <a:spLocks noGrp="1"/>
          </p:cNvSpPr>
          <p:nvPr>
            <p:ph type="ftr" sz="quarter" idx="11"/>
          </p:nvPr>
        </p:nvSpPr>
        <p:spPr/>
        <p:txBody>
          <a:bodyPr/>
          <a:lstStyle/>
          <a:p>
            <a:endParaRPr lang="de-AT"/>
          </a:p>
        </p:txBody>
      </p:sp>
      <p:sp>
        <p:nvSpPr>
          <p:cNvPr id="7" name="Foliennummernplatzhalter 6">
            <a:extLst>
              <a:ext uri="{FF2B5EF4-FFF2-40B4-BE49-F238E27FC236}">
                <a16:creationId xmlns:a16="http://schemas.microsoft.com/office/drawing/2014/main" id="{0AF0B0CF-7657-69EB-0098-21171F473CF5}"/>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36229665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B88B52-F373-40C9-58B8-D434A2EDAA33}"/>
              </a:ext>
            </a:extLst>
          </p:cNvPr>
          <p:cNvSpPr>
            <a:spLocks noGrp="1"/>
          </p:cNvSpPr>
          <p:nvPr>
            <p:ph type="title"/>
          </p:nvPr>
        </p:nvSpPr>
        <p:spPr>
          <a:xfrm>
            <a:off x="925513" y="504825"/>
            <a:ext cx="4335462" cy="1763713"/>
          </a:xfrm>
        </p:spPr>
        <p:txBody>
          <a:bodyPr anchor="b"/>
          <a:lstStyle>
            <a:lvl1pPr>
              <a:defRPr sz="3200"/>
            </a:lvl1pPr>
          </a:lstStyle>
          <a:p>
            <a:r>
              <a:rPr lang="de-DE"/>
              <a:t>Mastertitelformat bearbeiten</a:t>
            </a:r>
            <a:endParaRPr lang="de-AT"/>
          </a:p>
        </p:txBody>
      </p:sp>
      <p:sp>
        <p:nvSpPr>
          <p:cNvPr id="3" name="Bildplatzhalter 2">
            <a:extLst>
              <a:ext uri="{FF2B5EF4-FFF2-40B4-BE49-F238E27FC236}">
                <a16:creationId xmlns:a16="http://schemas.microsoft.com/office/drawing/2014/main" id="{F6D19B16-7E07-0B5E-CDC0-9BE4DC1EFA35}"/>
              </a:ext>
            </a:extLst>
          </p:cNvPr>
          <p:cNvSpPr>
            <a:spLocks noGrp="1"/>
          </p:cNvSpPr>
          <p:nvPr>
            <p:ph type="pic" idx="1"/>
          </p:nvPr>
        </p:nvSpPr>
        <p:spPr>
          <a:xfrm>
            <a:off x="5715000" y="1089025"/>
            <a:ext cx="6805613" cy="537368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AT"/>
          </a:p>
        </p:txBody>
      </p:sp>
      <p:sp>
        <p:nvSpPr>
          <p:cNvPr id="4" name="Textplatzhalter 3">
            <a:extLst>
              <a:ext uri="{FF2B5EF4-FFF2-40B4-BE49-F238E27FC236}">
                <a16:creationId xmlns:a16="http://schemas.microsoft.com/office/drawing/2014/main" id="{5597FEBB-5BB9-F22E-FE8A-E07C3A0CA388}"/>
              </a:ext>
            </a:extLst>
          </p:cNvPr>
          <p:cNvSpPr>
            <a:spLocks noGrp="1"/>
          </p:cNvSpPr>
          <p:nvPr>
            <p:ph type="body" sz="half" idx="2"/>
          </p:nvPr>
        </p:nvSpPr>
        <p:spPr>
          <a:xfrm>
            <a:off x="925513" y="2268538"/>
            <a:ext cx="4335462" cy="420211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ECC1F20A-6F2D-8CEE-C1D5-A4463A7C3F28}"/>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6" name="Fußzeilenplatzhalter 5">
            <a:extLst>
              <a:ext uri="{FF2B5EF4-FFF2-40B4-BE49-F238E27FC236}">
                <a16:creationId xmlns:a16="http://schemas.microsoft.com/office/drawing/2014/main" id="{83CD4D02-20CC-A35B-14A9-EF93C2614D12}"/>
              </a:ext>
            </a:extLst>
          </p:cNvPr>
          <p:cNvSpPr>
            <a:spLocks noGrp="1"/>
          </p:cNvSpPr>
          <p:nvPr>
            <p:ph type="ftr" sz="quarter" idx="11"/>
          </p:nvPr>
        </p:nvSpPr>
        <p:spPr/>
        <p:txBody>
          <a:bodyPr/>
          <a:lstStyle/>
          <a:p>
            <a:endParaRPr lang="de-AT"/>
          </a:p>
        </p:txBody>
      </p:sp>
      <p:sp>
        <p:nvSpPr>
          <p:cNvPr id="7" name="Foliennummernplatzhalter 6">
            <a:extLst>
              <a:ext uri="{FF2B5EF4-FFF2-40B4-BE49-F238E27FC236}">
                <a16:creationId xmlns:a16="http://schemas.microsoft.com/office/drawing/2014/main" id="{DD4C6459-E0FF-A87E-4A0E-FEA2C9057E26}"/>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41741197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781CDE-6B75-3FD7-F362-EF3AE450B3BF}"/>
              </a:ext>
            </a:extLst>
          </p:cNvPr>
          <p:cNvSpPr>
            <a:spLocks noGrp="1"/>
          </p:cNvSpPr>
          <p:nvPr>
            <p:ph type="title"/>
          </p:nvPr>
        </p:nvSpPr>
        <p:spPr/>
        <p:txBody>
          <a:bodyPr/>
          <a:lstStyle/>
          <a:p>
            <a:r>
              <a:rPr lang="de-DE"/>
              <a:t>Mastertitelformat bearbeiten</a:t>
            </a:r>
            <a:endParaRPr lang="de-AT"/>
          </a:p>
        </p:txBody>
      </p:sp>
      <p:sp>
        <p:nvSpPr>
          <p:cNvPr id="3" name="Vertikaler Textplatzhalter 2">
            <a:extLst>
              <a:ext uri="{FF2B5EF4-FFF2-40B4-BE49-F238E27FC236}">
                <a16:creationId xmlns:a16="http://schemas.microsoft.com/office/drawing/2014/main" id="{F669D81B-05CC-31C7-DCE2-918DAA33FB62}"/>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4467F771-C371-F88B-FCCE-1C38A793E233}"/>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5" name="Fußzeilenplatzhalter 4">
            <a:extLst>
              <a:ext uri="{FF2B5EF4-FFF2-40B4-BE49-F238E27FC236}">
                <a16:creationId xmlns:a16="http://schemas.microsoft.com/office/drawing/2014/main" id="{23BD234C-BB8A-1F93-C439-1D448971A49F}"/>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15AD0E4C-9D94-178C-4BA1-0522E771B48A}"/>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34011746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C2BA1F64-1513-53B5-DAB0-2661CC73F28D}"/>
              </a:ext>
            </a:extLst>
          </p:cNvPr>
          <p:cNvSpPr>
            <a:spLocks noGrp="1"/>
          </p:cNvSpPr>
          <p:nvPr>
            <p:ph type="title" orient="vert"/>
          </p:nvPr>
        </p:nvSpPr>
        <p:spPr>
          <a:xfrm>
            <a:off x="9620250" y="403225"/>
            <a:ext cx="2898775" cy="6407150"/>
          </a:xfrm>
        </p:spPr>
        <p:txBody>
          <a:bodyPr vert="eaVert"/>
          <a:lstStyle/>
          <a:p>
            <a:r>
              <a:rPr lang="de-DE"/>
              <a:t>Mastertitelformat bearbeiten</a:t>
            </a:r>
            <a:endParaRPr lang="de-AT"/>
          </a:p>
        </p:txBody>
      </p:sp>
      <p:sp>
        <p:nvSpPr>
          <p:cNvPr id="3" name="Vertikaler Textplatzhalter 2">
            <a:extLst>
              <a:ext uri="{FF2B5EF4-FFF2-40B4-BE49-F238E27FC236}">
                <a16:creationId xmlns:a16="http://schemas.microsoft.com/office/drawing/2014/main" id="{A88B939F-BD79-697B-55B8-435C164ADD44}"/>
              </a:ext>
            </a:extLst>
          </p:cNvPr>
          <p:cNvSpPr>
            <a:spLocks noGrp="1"/>
          </p:cNvSpPr>
          <p:nvPr>
            <p:ph type="body" orient="vert" idx="1"/>
          </p:nvPr>
        </p:nvSpPr>
        <p:spPr>
          <a:xfrm>
            <a:off x="923925" y="403225"/>
            <a:ext cx="8543925" cy="6407150"/>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C1507F77-2715-B5F5-F7E1-08F0A1123A50}"/>
              </a:ext>
            </a:extLst>
          </p:cNvPr>
          <p:cNvSpPr>
            <a:spLocks noGrp="1"/>
          </p:cNvSpPr>
          <p:nvPr>
            <p:ph type="dt" sz="half" idx="10"/>
          </p:nvPr>
        </p:nvSpPr>
        <p:spPr/>
        <p:txBody>
          <a:bodyPr/>
          <a:lstStyle/>
          <a:p>
            <a:fld id="{AA209414-4527-4892-AD72-DA3EFBEE2C48}" type="datetimeFigureOut">
              <a:rPr lang="de-AT" smtClean="0"/>
              <a:t>17.01.2023</a:t>
            </a:fld>
            <a:endParaRPr lang="de-AT"/>
          </a:p>
        </p:txBody>
      </p:sp>
      <p:sp>
        <p:nvSpPr>
          <p:cNvPr id="5" name="Fußzeilenplatzhalter 4">
            <a:extLst>
              <a:ext uri="{FF2B5EF4-FFF2-40B4-BE49-F238E27FC236}">
                <a16:creationId xmlns:a16="http://schemas.microsoft.com/office/drawing/2014/main" id="{AF16634A-733E-0D13-8B69-A18F9912927E}"/>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88B20143-E08D-C9B3-639F-5074F18430E5}"/>
              </a:ext>
            </a:extLst>
          </p:cNvPr>
          <p:cNvSpPr>
            <a:spLocks noGrp="1"/>
          </p:cNvSpPr>
          <p:nvPr>
            <p:ph type="sldNum" sz="quarter" idx="12"/>
          </p:nvPr>
        </p:nvSpPr>
        <p:spPr/>
        <p:txBody>
          <a:bodyPr/>
          <a:lstStyle/>
          <a:p>
            <a:fld id="{44B7315E-228A-49CC-9C1C-4B3F3E584AB2}" type="slidenum">
              <a:rPr lang="de-AT" smtClean="0"/>
              <a:t>‹Nr.›</a:t>
            </a:fld>
            <a:endParaRPr lang="de-AT"/>
          </a:p>
        </p:txBody>
      </p:sp>
    </p:spTree>
    <p:extLst>
      <p:ext uri="{BB962C8B-B14F-4D97-AF65-F5344CB8AC3E}">
        <p14:creationId xmlns:p14="http://schemas.microsoft.com/office/powerpoint/2010/main" val="435197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258CE9-9006-4B75-BFC2-C6EF524E5DB4}"/>
              </a:ext>
            </a:extLst>
          </p:cNvPr>
          <p:cNvGraphicFramePr>
            <a:graphicFrameLocks noChangeAspect="1"/>
          </p:cNvGraphicFramePr>
          <p:nvPr userDrawn="1">
            <p:custDataLst>
              <p:tags r:id="rId2"/>
            </p:custDataLst>
            <p:extLst>
              <p:ext uri="{D42A27DB-BD31-4B8C-83A1-F6EECF244321}">
                <p14:modId xmlns:p14="http://schemas.microsoft.com/office/powerpoint/2010/main" val="863984379"/>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5124" name="think-cell Slide" r:id="rId5" imgW="351" imgH="351" progId="TCLayout.ActiveDocument.1">
                  <p:embed/>
                </p:oleObj>
              </mc:Choice>
              <mc:Fallback>
                <p:oleObj name="think-cell Slide" r:id="rId5" imgW="351" imgH="351" progId="TCLayout.ActiveDocument.1">
                  <p:embed/>
                  <p:pic>
                    <p:nvPicPr>
                      <p:cNvPr id="4" name="Object 3" hidden="1">
                        <a:extLst>
                          <a:ext uri="{FF2B5EF4-FFF2-40B4-BE49-F238E27FC236}">
                            <a16:creationId xmlns:a16="http://schemas.microsoft.com/office/drawing/2014/main" id="{68258CE9-9006-4B75-BFC2-C6EF524E5DB4}"/>
                          </a:ext>
                        </a:extLst>
                      </p:cNvPr>
                      <p:cNvPicPr/>
                      <p:nvPr/>
                    </p:nvPicPr>
                    <p:blipFill>
                      <a:blip r:embed="rId6"/>
                      <a:stretch>
                        <a:fillRect/>
                      </a:stretch>
                    </p:blipFill>
                    <p:spPr>
                      <a:xfrm>
                        <a:off x="1998" y="1588"/>
                        <a:ext cx="1996"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EB2ECD-020B-451E-99A5-6EB49A148121}"/>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1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64D34665-AFEB-47AE-A7B8-B1C11914151F}"/>
              </a:ext>
            </a:extLst>
          </p:cNvPr>
          <p:cNvSpPr>
            <a:spLocks noGrp="1"/>
          </p:cNvSpPr>
          <p:nvPr>
            <p:ph type="title"/>
          </p:nvPr>
        </p:nvSpPr>
        <p:spPr bwMode="gray">
          <a:xfrm>
            <a:off x="643675" y="3779841"/>
            <a:ext cx="12483958" cy="417871"/>
          </a:xfrm>
          <a:prstGeom prst="rect">
            <a:avLst/>
          </a:prstGeom>
        </p:spPr>
        <p:txBody>
          <a:bodyPr wrap="square" anchor="t" anchorCtr="0">
            <a:spAutoFit/>
          </a:bodyPr>
          <a:lstStyle>
            <a:lvl1pPr>
              <a:defRPr sz="3017" b="1">
                <a:latin typeface="Amalia" panose="020B0504020203020204" pitchFamily="34" charset="0"/>
              </a:defRPr>
            </a:lvl1pPr>
          </a:lstStyle>
          <a:p>
            <a:r>
              <a:rPr lang="de-DE"/>
              <a:t>Mastertitelformat bearbeiten</a:t>
            </a:r>
            <a:endParaRPr lang="en-US"/>
          </a:p>
        </p:txBody>
      </p:sp>
      <p:sp>
        <p:nvSpPr>
          <p:cNvPr id="6" name="Subtitle 2">
            <a:extLst>
              <a:ext uri="{FF2B5EF4-FFF2-40B4-BE49-F238E27FC236}">
                <a16:creationId xmlns:a16="http://schemas.microsoft.com/office/drawing/2014/main" id="{2789777E-AABC-4BBF-AD6A-6C30E1D40FBF}"/>
              </a:ext>
            </a:extLst>
          </p:cNvPr>
          <p:cNvSpPr>
            <a:spLocks noGrp="1"/>
          </p:cNvSpPr>
          <p:nvPr>
            <p:ph type="subTitle" idx="1"/>
          </p:nvPr>
        </p:nvSpPr>
        <p:spPr bwMode="gray">
          <a:xfrm>
            <a:off x="652225" y="3371910"/>
            <a:ext cx="12475411" cy="309444"/>
          </a:xfrm>
        </p:spPr>
        <p:txBody>
          <a:bodyPr wrap="square" lIns="0" rIns="0" anchor="b" anchorCtr="0">
            <a:spAutoFit/>
          </a:bodyPr>
          <a:lstStyle>
            <a:lvl1pPr marL="0" indent="0" algn="l">
              <a:lnSpc>
                <a:spcPct val="100000"/>
              </a:lnSpc>
              <a:spcAft>
                <a:spcPts val="0"/>
              </a:spcAft>
              <a:buNone/>
              <a:defRPr sz="2011" b="0" cap="none" baseline="0">
                <a:solidFill>
                  <a:schemeClr val="accent2"/>
                </a:solidFill>
                <a:latin typeface="Amalia" panose="020B0504020203020204" pitchFamily="34" charset="0"/>
              </a:defRPr>
            </a:lvl1pPr>
            <a:lvl2pPr marL="0" indent="0" algn="l">
              <a:lnSpc>
                <a:spcPct val="100000"/>
              </a:lnSpc>
              <a:spcAft>
                <a:spcPts val="0"/>
              </a:spcAft>
              <a:buNone/>
              <a:defRPr sz="2011" cap="none" baseline="0">
                <a:solidFill>
                  <a:schemeClr val="accent2"/>
                </a:solidFill>
              </a:defRPr>
            </a:lvl2pPr>
            <a:lvl3pPr marL="0" indent="0" algn="l">
              <a:lnSpc>
                <a:spcPct val="100000"/>
              </a:lnSpc>
              <a:spcAft>
                <a:spcPts val="0"/>
              </a:spcAft>
              <a:buNone/>
              <a:defRPr sz="2011" cap="none" baseline="0">
                <a:solidFill>
                  <a:schemeClr val="accent2"/>
                </a:solidFill>
              </a:defRPr>
            </a:lvl3pPr>
            <a:lvl4pPr marL="0" indent="0" algn="l">
              <a:lnSpc>
                <a:spcPct val="100000"/>
              </a:lnSpc>
              <a:spcAft>
                <a:spcPts val="0"/>
              </a:spcAft>
              <a:buNone/>
              <a:defRPr sz="2011" cap="none" baseline="0">
                <a:solidFill>
                  <a:schemeClr val="accent2"/>
                </a:solidFill>
              </a:defRPr>
            </a:lvl4pPr>
            <a:lvl5pPr marL="0" indent="0" algn="l">
              <a:lnSpc>
                <a:spcPct val="100000"/>
              </a:lnSpc>
              <a:spcAft>
                <a:spcPts val="0"/>
              </a:spcAft>
              <a:buNone/>
              <a:defRPr sz="2011" cap="none" baseline="0">
                <a:solidFill>
                  <a:schemeClr val="accent2"/>
                </a:solidFill>
              </a:defRPr>
            </a:lvl5pPr>
            <a:lvl6pPr marL="0" indent="0" algn="l">
              <a:lnSpc>
                <a:spcPct val="100000"/>
              </a:lnSpc>
              <a:buNone/>
              <a:defRPr sz="2011" cap="none" baseline="0">
                <a:solidFill>
                  <a:schemeClr val="accent2"/>
                </a:solidFill>
              </a:defRPr>
            </a:lvl6pPr>
            <a:lvl7pPr marL="0" indent="0" algn="l">
              <a:lnSpc>
                <a:spcPct val="100000"/>
              </a:lnSpc>
              <a:buNone/>
              <a:defRPr sz="2011" cap="none" baseline="0">
                <a:solidFill>
                  <a:schemeClr val="accent2"/>
                </a:solidFill>
              </a:defRPr>
            </a:lvl7pPr>
            <a:lvl8pPr marL="0" indent="0" algn="l">
              <a:lnSpc>
                <a:spcPct val="100000"/>
              </a:lnSpc>
              <a:buNone/>
              <a:defRPr sz="2011" cap="none" baseline="0">
                <a:solidFill>
                  <a:schemeClr val="accent2"/>
                </a:solidFill>
              </a:defRPr>
            </a:lvl8pPr>
            <a:lvl9pPr marL="0" indent="0" algn="l">
              <a:lnSpc>
                <a:spcPct val="100000"/>
              </a:lnSpc>
              <a:buNone/>
              <a:defRPr sz="2011" cap="none" baseline="0">
                <a:solidFill>
                  <a:schemeClr val="accent2"/>
                </a:solidFill>
              </a:defRPr>
            </a:lvl9pPr>
          </a:lstStyle>
          <a:p>
            <a:pPr lvl="0"/>
            <a:r>
              <a:rPr lang="de-DE"/>
              <a:t>Master-Untertitelformat bearbeiten</a:t>
            </a:r>
            <a:endParaRPr lang="en-US"/>
          </a:p>
        </p:txBody>
      </p:sp>
      <p:cxnSp>
        <p:nvCxnSpPr>
          <p:cNvPr id="7" name="Gerader Verbinder 3">
            <a:extLst>
              <a:ext uri="{FF2B5EF4-FFF2-40B4-BE49-F238E27FC236}">
                <a16:creationId xmlns:a16="http://schemas.microsoft.com/office/drawing/2014/main" id="{17E7FA7D-3131-4476-B1F9-945D6AB0F692}"/>
              </a:ext>
            </a:extLst>
          </p:cNvPr>
          <p:cNvCxnSpPr>
            <a:cxnSpLocks/>
          </p:cNvCxnSpPr>
          <p:nvPr/>
        </p:nvCxnSpPr>
        <p:spPr bwMode="gray">
          <a:xfrm>
            <a:off x="673606" y="4472738"/>
            <a:ext cx="1245402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165">
            <a:extLst>
              <a:ext uri="{FF2B5EF4-FFF2-40B4-BE49-F238E27FC236}">
                <a16:creationId xmlns:a16="http://schemas.microsoft.com/office/drawing/2014/main" id="{248B3159-079F-499C-846C-FEC416EF7540}"/>
              </a:ext>
            </a:extLst>
          </p:cNvPr>
          <p:cNvSpPr/>
          <p:nvPr/>
        </p:nvSpPr>
        <p:spPr bwMode="gray">
          <a:xfrm>
            <a:off x="2" y="0"/>
            <a:ext cx="13442950" cy="1196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9" name="Date Placeholder 8">
            <a:extLst>
              <a:ext uri="{FF2B5EF4-FFF2-40B4-BE49-F238E27FC236}">
                <a16:creationId xmlns:a16="http://schemas.microsoft.com/office/drawing/2014/main" id="{65F0CD19-657A-4D08-BBF3-49CB13A95248}"/>
              </a:ext>
            </a:extLst>
          </p:cNvPr>
          <p:cNvSpPr>
            <a:spLocks noGrp="1"/>
          </p:cNvSpPr>
          <p:nvPr>
            <p:ph type="dt" sz="half" idx="10"/>
          </p:nvPr>
        </p:nvSpPr>
        <p:spPr bwMode="gray"/>
        <p:txBody>
          <a:bodyPr/>
          <a:lstStyle/>
          <a:p>
            <a:fld id="{54D38B80-A3C5-41D7-A0A2-9FA4150BDDF7}" type="datetime6">
              <a:rPr lang="de-AT" smtClean="0"/>
              <a:t>Jänner 23</a:t>
            </a:fld>
            <a:endParaRPr lang="en-US"/>
          </a:p>
        </p:txBody>
      </p:sp>
    </p:spTree>
    <p:extLst>
      <p:ext uri="{BB962C8B-B14F-4D97-AF65-F5344CB8AC3E}">
        <p14:creationId xmlns:p14="http://schemas.microsoft.com/office/powerpoint/2010/main" val="35470386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4473CB7-D0F9-4BF0-BF58-7F86CC4F67C5}"/>
              </a:ext>
            </a:extLst>
          </p:cNvPr>
          <p:cNvGraphicFramePr>
            <a:graphicFrameLocks noChangeAspect="1"/>
          </p:cNvGraphicFramePr>
          <p:nvPr userDrawn="1">
            <p:custDataLst>
              <p:tags r:id="rId2"/>
            </p:custDataLst>
            <p:extLst>
              <p:ext uri="{D42A27DB-BD31-4B8C-83A1-F6EECF244321}">
                <p14:modId xmlns:p14="http://schemas.microsoft.com/office/powerpoint/2010/main" val="3506262256"/>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6148" name="think-cell Slide" r:id="rId5" imgW="351" imgH="351" progId="TCLayout.ActiveDocument.1">
                  <p:embed/>
                </p:oleObj>
              </mc:Choice>
              <mc:Fallback>
                <p:oleObj name="think-cell Slide" r:id="rId5" imgW="351" imgH="351" progId="TCLayout.ActiveDocument.1">
                  <p:embed/>
                  <p:pic>
                    <p:nvPicPr>
                      <p:cNvPr id="16" name="Object 15" hidden="1">
                        <a:extLst>
                          <a:ext uri="{FF2B5EF4-FFF2-40B4-BE49-F238E27FC236}">
                            <a16:creationId xmlns:a16="http://schemas.microsoft.com/office/drawing/2014/main" id="{A4473CB7-D0F9-4BF0-BF58-7F86CC4F67C5}"/>
                          </a:ext>
                        </a:extLst>
                      </p:cNvPr>
                      <p:cNvPicPr/>
                      <p:nvPr/>
                    </p:nvPicPr>
                    <p:blipFill>
                      <a:blip r:embed="rId6"/>
                      <a:stretch>
                        <a:fillRect/>
                      </a:stretch>
                    </p:blipFill>
                    <p:spPr>
                      <a:xfrm>
                        <a:off x="1998" y="1588"/>
                        <a:ext cx="1996"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228C937-DB77-4CE8-ADD8-1F4E13233D6D}"/>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1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3" name="Date Placeholder 2">
            <a:extLst>
              <a:ext uri="{FF2B5EF4-FFF2-40B4-BE49-F238E27FC236}">
                <a16:creationId xmlns:a16="http://schemas.microsoft.com/office/drawing/2014/main" id="{A352E422-A9C9-4AFF-8415-E1024DA8B80E}"/>
              </a:ext>
            </a:extLst>
          </p:cNvPr>
          <p:cNvSpPr>
            <a:spLocks noGrp="1"/>
          </p:cNvSpPr>
          <p:nvPr>
            <p:ph type="dt" sz="half" idx="10"/>
          </p:nvPr>
        </p:nvSpPr>
        <p:spPr bwMode="gray"/>
        <p:txBody>
          <a:bodyPr/>
          <a:lstStyle/>
          <a:p>
            <a:fld id="{5303B262-6A16-4CA2-8104-93FAE1864E6F}" type="datetime6">
              <a:rPr lang="de-AT" smtClean="0"/>
              <a:t>Jänner 23</a:t>
            </a:fld>
            <a:endParaRPr lang="en-US"/>
          </a:p>
        </p:txBody>
      </p:sp>
      <p:sp>
        <p:nvSpPr>
          <p:cNvPr id="6" name="Text Placeholder 3">
            <a:extLst>
              <a:ext uri="{FF2B5EF4-FFF2-40B4-BE49-F238E27FC236}">
                <a16:creationId xmlns:a16="http://schemas.microsoft.com/office/drawing/2014/main" id="{75FF1E81-B6FC-4E17-91FD-4C415821C89C}"/>
              </a:ext>
            </a:extLst>
          </p:cNvPr>
          <p:cNvSpPr>
            <a:spLocks noGrp="1"/>
          </p:cNvSpPr>
          <p:nvPr>
            <p:ph type="body" sz="quarter" idx="17" hasCustomPrompt="1"/>
          </p:nvPr>
        </p:nvSpPr>
        <p:spPr bwMode="gray">
          <a:xfrm>
            <a:off x="1396124" y="1420019"/>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8" name="Text Placeholder 3">
            <a:extLst>
              <a:ext uri="{FF2B5EF4-FFF2-40B4-BE49-F238E27FC236}">
                <a16:creationId xmlns:a16="http://schemas.microsoft.com/office/drawing/2014/main" id="{38517007-7160-436B-AEE3-5CB0C9EE5B6C}"/>
              </a:ext>
            </a:extLst>
          </p:cNvPr>
          <p:cNvSpPr>
            <a:spLocks noGrp="1"/>
          </p:cNvSpPr>
          <p:nvPr>
            <p:ph type="body" sz="quarter" idx="18" hasCustomPrompt="1"/>
          </p:nvPr>
        </p:nvSpPr>
        <p:spPr bwMode="gray">
          <a:xfrm>
            <a:off x="1396124" y="2376328"/>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9" name="Text Placeholder 3">
            <a:extLst>
              <a:ext uri="{FF2B5EF4-FFF2-40B4-BE49-F238E27FC236}">
                <a16:creationId xmlns:a16="http://schemas.microsoft.com/office/drawing/2014/main" id="{57E6E6B9-5A6D-483D-9427-A8A7C8CEC0A0}"/>
              </a:ext>
            </a:extLst>
          </p:cNvPr>
          <p:cNvSpPr>
            <a:spLocks noGrp="1"/>
          </p:cNvSpPr>
          <p:nvPr>
            <p:ph type="body" sz="quarter" idx="19" hasCustomPrompt="1"/>
          </p:nvPr>
        </p:nvSpPr>
        <p:spPr bwMode="gray">
          <a:xfrm>
            <a:off x="1396124" y="3332637"/>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3">
            <a:extLst>
              <a:ext uri="{FF2B5EF4-FFF2-40B4-BE49-F238E27FC236}">
                <a16:creationId xmlns:a16="http://schemas.microsoft.com/office/drawing/2014/main" id="{5D8365E9-2965-48D0-B78D-AE4551692974}"/>
              </a:ext>
            </a:extLst>
          </p:cNvPr>
          <p:cNvSpPr>
            <a:spLocks noGrp="1"/>
          </p:cNvSpPr>
          <p:nvPr>
            <p:ph type="body" sz="quarter" idx="20" hasCustomPrompt="1"/>
          </p:nvPr>
        </p:nvSpPr>
        <p:spPr bwMode="gray">
          <a:xfrm>
            <a:off x="1396124" y="4288946"/>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1" name="Text Placeholder 3">
            <a:extLst>
              <a:ext uri="{FF2B5EF4-FFF2-40B4-BE49-F238E27FC236}">
                <a16:creationId xmlns:a16="http://schemas.microsoft.com/office/drawing/2014/main" id="{6E0D4DED-ED55-47A3-A3E1-FA095DCCC10C}"/>
              </a:ext>
            </a:extLst>
          </p:cNvPr>
          <p:cNvSpPr>
            <a:spLocks noGrp="1"/>
          </p:cNvSpPr>
          <p:nvPr>
            <p:ph type="body" sz="quarter" idx="21" hasCustomPrompt="1"/>
          </p:nvPr>
        </p:nvSpPr>
        <p:spPr bwMode="gray">
          <a:xfrm>
            <a:off x="1396124" y="5245255"/>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2" name="Text Placeholder 3">
            <a:extLst>
              <a:ext uri="{FF2B5EF4-FFF2-40B4-BE49-F238E27FC236}">
                <a16:creationId xmlns:a16="http://schemas.microsoft.com/office/drawing/2014/main" id="{5AA6D539-46E6-42EC-9D57-7E3888068816}"/>
              </a:ext>
            </a:extLst>
          </p:cNvPr>
          <p:cNvSpPr>
            <a:spLocks noGrp="1"/>
          </p:cNvSpPr>
          <p:nvPr>
            <p:ph type="body" sz="quarter" idx="22" hasCustomPrompt="1"/>
          </p:nvPr>
        </p:nvSpPr>
        <p:spPr bwMode="gray">
          <a:xfrm>
            <a:off x="1396124" y="6201565"/>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3" name="Text Placeholder 3">
            <a:extLst>
              <a:ext uri="{FF2B5EF4-FFF2-40B4-BE49-F238E27FC236}">
                <a16:creationId xmlns:a16="http://schemas.microsoft.com/office/drawing/2014/main" id="{4F0B40F0-906B-45DE-910A-EC7BC15C8FBA}"/>
              </a:ext>
            </a:extLst>
          </p:cNvPr>
          <p:cNvSpPr>
            <a:spLocks noGrp="1"/>
          </p:cNvSpPr>
          <p:nvPr>
            <p:ph type="body" sz="quarter" idx="23" hasCustomPrompt="1"/>
          </p:nvPr>
        </p:nvSpPr>
        <p:spPr bwMode="gray">
          <a:xfrm>
            <a:off x="7796147" y="1420019"/>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4" name="Text Placeholder 3">
            <a:extLst>
              <a:ext uri="{FF2B5EF4-FFF2-40B4-BE49-F238E27FC236}">
                <a16:creationId xmlns:a16="http://schemas.microsoft.com/office/drawing/2014/main" id="{79D693ED-ACBE-4A70-B881-79BF6E6CB281}"/>
              </a:ext>
            </a:extLst>
          </p:cNvPr>
          <p:cNvSpPr>
            <a:spLocks noGrp="1"/>
          </p:cNvSpPr>
          <p:nvPr>
            <p:ph type="body" sz="quarter" idx="24" hasCustomPrompt="1"/>
          </p:nvPr>
        </p:nvSpPr>
        <p:spPr bwMode="gray">
          <a:xfrm>
            <a:off x="7796147" y="2376328"/>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5" name="Text Placeholder 3">
            <a:extLst>
              <a:ext uri="{FF2B5EF4-FFF2-40B4-BE49-F238E27FC236}">
                <a16:creationId xmlns:a16="http://schemas.microsoft.com/office/drawing/2014/main" id="{7C2B8079-A52B-48C1-880A-F6CA7E191C0F}"/>
              </a:ext>
            </a:extLst>
          </p:cNvPr>
          <p:cNvSpPr>
            <a:spLocks noGrp="1"/>
          </p:cNvSpPr>
          <p:nvPr>
            <p:ph type="body" sz="quarter" idx="25" hasCustomPrompt="1"/>
          </p:nvPr>
        </p:nvSpPr>
        <p:spPr bwMode="gray">
          <a:xfrm>
            <a:off x="7796147" y="3332637"/>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35" name="Text Placeholder 3">
            <a:extLst>
              <a:ext uri="{FF2B5EF4-FFF2-40B4-BE49-F238E27FC236}">
                <a16:creationId xmlns:a16="http://schemas.microsoft.com/office/drawing/2014/main" id="{E3B5A97F-5DFD-430F-9221-CB7A13DE2C6F}"/>
              </a:ext>
            </a:extLst>
          </p:cNvPr>
          <p:cNvSpPr>
            <a:spLocks noGrp="1"/>
          </p:cNvSpPr>
          <p:nvPr>
            <p:ph type="body" sz="quarter" idx="26" hasCustomPrompt="1"/>
          </p:nvPr>
        </p:nvSpPr>
        <p:spPr bwMode="gray">
          <a:xfrm>
            <a:off x="7796147" y="4288946"/>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36" name="Text Placeholder 3">
            <a:extLst>
              <a:ext uri="{FF2B5EF4-FFF2-40B4-BE49-F238E27FC236}">
                <a16:creationId xmlns:a16="http://schemas.microsoft.com/office/drawing/2014/main" id="{51A04683-BCAC-467D-9657-7D6B4DD27706}"/>
              </a:ext>
            </a:extLst>
          </p:cNvPr>
          <p:cNvSpPr>
            <a:spLocks noGrp="1"/>
          </p:cNvSpPr>
          <p:nvPr>
            <p:ph type="body" sz="quarter" idx="27" hasCustomPrompt="1"/>
          </p:nvPr>
        </p:nvSpPr>
        <p:spPr bwMode="gray">
          <a:xfrm>
            <a:off x="7796147" y="5245255"/>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37" name="Text Placeholder 3">
            <a:extLst>
              <a:ext uri="{FF2B5EF4-FFF2-40B4-BE49-F238E27FC236}">
                <a16:creationId xmlns:a16="http://schemas.microsoft.com/office/drawing/2014/main" id="{B912282C-0053-49D4-B1F2-8FD1889E743E}"/>
              </a:ext>
            </a:extLst>
          </p:cNvPr>
          <p:cNvSpPr>
            <a:spLocks noGrp="1"/>
          </p:cNvSpPr>
          <p:nvPr>
            <p:ph type="body" sz="quarter" idx="28" hasCustomPrompt="1"/>
          </p:nvPr>
        </p:nvSpPr>
        <p:spPr bwMode="gray">
          <a:xfrm>
            <a:off x="7796147" y="6201565"/>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38" name="Text Placeholder 3">
            <a:extLst>
              <a:ext uri="{FF2B5EF4-FFF2-40B4-BE49-F238E27FC236}">
                <a16:creationId xmlns:a16="http://schemas.microsoft.com/office/drawing/2014/main" id="{4E5EAB60-4AB0-4FF7-BBD9-AAC6144A3AA8}"/>
              </a:ext>
            </a:extLst>
          </p:cNvPr>
          <p:cNvSpPr>
            <a:spLocks noGrp="1"/>
          </p:cNvSpPr>
          <p:nvPr>
            <p:ph type="body" sz="quarter" idx="29" hasCustomPrompt="1"/>
          </p:nvPr>
        </p:nvSpPr>
        <p:spPr bwMode="gray">
          <a:xfrm>
            <a:off x="643753" y="1420019"/>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1</a:t>
            </a:r>
          </a:p>
        </p:txBody>
      </p:sp>
      <p:sp>
        <p:nvSpPr>
          <p:cNvPr id="39" name="Text Placeholder 3">
            <a:extLst>
              <a:ext uri="{FF2B5EF4-FFF2-40B4-BE49-F238E27FC236}">
                <a16:creationId xmlns:a16="http://schemas.microsoft.com/office/drawing/2014/main" id="{AC121B3F-7C97-4C9E-BC81-0DE964835F33}"/>
              </a:ext>
            </a:extLst>
          </p:cNvPr>
          <p:cNvSpPr>
            <a:spLocks noGrp="1"/>
          </p:cNvSpPr>
          <p:nvPr>
            <p:ph type="body" sz="quarter" idx="30" hasCustomPrompt="1"/>
          </p:nvPr>
        </p:nvSpPr>
        <p:spPr bwMode="gray">
          <a:xfrm>
            <a:off x="643753" y="2376328"/>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2</a:t>
            </a:r>
          </a:p>
        </p:txBody>
      </p:sp>
      <p:sp>
        <p:nvSpPr>
          <p:cNvPr id="40" name="Text Placeholder 3">
            <a:extLst>
              <a:ext uri="{FF2B5EF4-FFF2-40B4-BE49-F238E27FC236}">
                <a16:creationId xmlns:a16="http://schemas.microsoft.com/office/drawing/2014/main" id="{097C94F8-D8D7-4714-A0B5-7CD8B0637AA0}"/>
              </a:ext>
            </a:extLst>
          </p:cNvPr>
          <p:cNvSpPr>
            <a:spLocks noGrp="1"/>
          </p:cNvSpPr>
          <p:nvPr>
            <p:ph type="body" sz="quarter" idx="31" hasCustomPrompt="1"/>
          </p:nvPr>
        </p:nvSpPr>
        <p:spPr bwMode="gray">
          <a:xfrm>
            <a:off x="643753" y="3332637"/>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3</a:t>
            </a:r>
          </a:p>
        </p:txBody>
      </p:sp>
      <p:sp>
        <p:nvSpPr>
          <p:cNvPr id="41" name="Text Placeholder 3">
            <a:extLst>
              <a:ext uri="{FF2B5EF4-FFF2-40B4-BE49-F238E27FC236}">
                <a16:creationId xmlns:a16="http://schemas.microsoft.com/office/drawing/2014/main" id="{2D967E4E-C31E-41DD-9A5A-8507F2CFE77A}"/>
              </a:ext>
            </a:extLst>
          </p:cNvPr>
          <p:cNvSpPr>
            <a:spLocks noGrp="1"/>
          </p:cNvSpPr>
          <p:nvPr>
            <p:ph type="body" sz="quarter" idx="32" hasCustomPrompt="1"/>
          </p:nvPr>
        </p:nvSpPr>
        <p:spPr bwMode="gray">
          <a:xfrm>
            <a:off x="643753" y="4288946"/>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4</a:t>
            </a:r>
          </a:p>
        </p:txBody>
      </p:sp>
      <p:sp>
        <p:nvSpPr>
          <p:cNvPr id="42" name="Text Placeholder 3">
            <a:extLst>
              <a:ext uri="{FF2B5EF4-FFF2-40B4-BE49-F238E27FC236}">
                <a16:creationId xmlns:a16="http://schemas.microsoft.com/office/drawing/2014/main" id="{264E96FA-32D1-40C6-8F07-4C375DFB9D79}"/>
              </a:ext>
            </a:extLst>
          </p:cNvPr>
          <p:cNvSpPr>
            <a:spLocks noGrp="1"/>
          </p:cNvSpPr>
          <p:nvPr>
            <p:ph type="body" sz="quarter" idx="33" hasCustomPrompt="1"/>
          </p:nvPr>
        </p:nvSpPr>
        <p:spPr bwMode="gray">
          <a:xfrm>
            <a:off x="643753" y="5245255"/>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5</a:t>
            </a:r>
          </a:p>
        </p:txBody>
      </p:sp>
      <p:sp>
        <p:nvSpPr>
          <p:cNvPr id="43" name="Text Placeholder 3">
            <a:extLst>
              <a:ext uri="{FF2B5EF4-FFF2-40B4-BE49-F238E27FC236}">
                <a16:creationId xmlns:a16="http://schemas.microsoft.com/office/drawing/2014/main" id="{5C399FFC-D397-451C-970A-5B06328C4D2B}"/>
              </a:ext>
            </a:extLst>
          </p:cNvPr>
          <p:cNvSpPr>
            <a:spLocks noGrp="1"/>
          </p:cNvSpPr>
          <p:nvPr>
            <p:ph type="body" sz="quarter" idx="34" hasCustomPrompt="1"/>
          </p:nvPr>
        </p:nvSpPr>
        <p:spPr bwMode="gray">
          <a:xfrm>
            <a:off x="643753" y="6201565"/>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6</a:t>
            </a:r>
          </a:p>
        </p:txBody>
      </p:sp>
      <p:sp>
        <p:nvSpPr>
          <p:cNvPr id="44" name="Text Placeholder 3">
            <a:extLst>
              <a:ext uri="{FF2B5EF4-FFF2-40B4-BE49-F238E27FC236}">
                <a16:creationId xmlns:a16="http://schemas.microsoft.com/office/drawing/2014/main" id="{A3A5A7A7-5957-452F-A2F9-06042FF46D33}"/>
              </a:ext>
            </a:extLst>
          </p:cNvPr>
          <p:cNvSpPr>
            <a:spLocks noGrp="1"/>
          </p:cNvSpPr>
          <p:nvPr>
            <p:ph type="body" sz="quarter" idx="35" hasCustomPrompt="1"/>
          </p:nvPr>
        </p:nvSpPr>
        <p:spPr bwMode="gray">
          <a:xfrm>
            <a:off x="7041784" y="1420019"/>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7</a:t>
            </a:r>
          </a:p>
        </p:txBody>
      </p:sp>
      <p:sp>
        <p:nvSpPr>
          <p:cNvPr id="45" name="Text Placeholder 3">
            <a:extLst>
              <a:ext uri="{FF2B5EF4-FFF2-40B4-BE49-F238E27FC236}">
                <a16:creationId xmlns:a16="http://schemas.microsoft.com/office/drawing/2014/main" id="{3D18B793-8C39-4F38-867F-7681C49FEF4B}"/>
              </a:ext>
            </a:extLst>
          </p:cNvPr>
          <p:cNvSpPr>
            <a:spLocks noGrp="1"/>
          </p:cNvSpPr>
          <p:nvPr>
            <p:ph type="body" sz="quarter" idx="36" hasCustomPrompt="1"/>
          </p:nvPr>
        </p:nvSpPr>
        <p:spPr bwMode="gray">
          <a:xfrm>
            <a:off x="7041784" y="2376328"/>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8</a:t>
            </a:r>
          </a:p>
        </p:txBody>
      </p:sp>
      <p:sp>
        <p:nvSpPr>
          <p:cNvPr id="46" name="Text Placeholder 3">
            <a:extLst>
              <a:ext uri="{FF2B5EF4-FFF2-40B4-BE49-F238E27FC236}">
                <a16:creationId xmlns:a16="http://schemas.microsoft.com/office/drawing/2014/main" id="{EB0547B4-8FF9-40B8-900B-BE08E71D5246}"/>
              </a:ext>
            </a:extLst>
          </p:cNvPr>
          <p:cNvSpPr>
            <a:spLocks noGrp="1"/>
          </p:cNvSpPr>
          <p:nvPr>
            <p:ph type="body" sz="quarter" idx="37" hasCustomPrompt="1"/>
          </p:nvPr>
        </p:nvSpPr>
        <p:spPr bwMode="gray">
          <a:xfrm>
            <a:off x="7041784" y="3332637"/>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9</a:t>
            </a:r>
          </a:p>
        </p:txBody>
      </p:sp>
      <p:sp>
        <p:nvSpPr>
          <p:cNvPr id="47" name="Text Placeholder 3">
            <a:extLst>
              <a:ext uri="{FF2B5EF4-FFF2-40B4-BE49-F238E27FC236}">
                <a16:creationId xmlns:a16="http://schemas.microsoft.com/office/drawing/2014/main" id="{66A6891E-C2F2-4DDD-A834-77D8A94145B4}"/>
              </a:ext>
            </a:extLst>
          </p:cNvPr>
          <p:cNvSpPr>
            <a:spLocks noGrp="1"/>
          </p:cNvSpPr>
          <p:nvPr>
            <p:ph type="body" sz="quarter" idx="38" hasCustomPrompt="1"/>
          </p:nvPr>
        </p:nvSpPr>
        <p:spPr bwMode="gray">
          <a:xfrm>
            <a:off x="7041784" y="4288946"/>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10</a:t>
            </a:r>
          </a:p>
        </p:txBody>
      </p:sp>
      <p:sp>
        <p:nvSpPr>
          <p:cNvPr id="48" name="Text Placeholder 3">
            <a:extLst>
              <a:ext uri="{FF2B5EF4-FFF2-40B4-BE49-F238E27FC236}">
                <a16:creationId xmlns:a16="http://schemas.microsoft.com/office/drawing/2014/main" id="{37B0AC72-BF3C-4C0F-A246-0656DB1DB7F1}"/>
              </a:ext>
            </a:extLst>
          </p:cNvPr>
          <p:cNvSpPr>
            <a:spLocks noGrp="1"/>
          </p:cNvSpPr>
          <p:nvPr>
            <p:ph type="body" sz="quarter" idx="39" hasCustomPrompt="1"/>
          </p:nvPr>
        </p:nvSpPr>
        <p:spPr bwMode="gray">
          <a:xfrm>
            <a:off x="7041784" y="5245255"/>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11</a:t>
            </a:r>
          </a:p>
        </p:txBody>
      </p:sp>
      <p:sp>
        <p:nvSpPr>
          <p:cNvPr id="49" name="Text Placeholder 3">
            <a:extLst>
              <a:ext uri="{FF2B5EF4-FFF2-40B4-BE49-F238E27FC236}">
                <a16:creationId xmlns:a16="http://schemas.microsoft.com/office/drawing/2014/main" id="{9A681D04-CF42-4129-B72C-11134D070393}"/>
              </a:ext>
            </a:extLst>
          </p:cNvPr>
          <p:cNvSpPr>
            <a:spLocks noGrp="1"/>
          </p:cNvSpPr>
          <p:nvPr>
            <p:ph type="body" sz="quarter" idx="40" hasCustomPrompt="1"/>
          </p:nvPr>
        </p:nvSpPr>
        <p:spPr bwMode="gray">
          <a:xfrm>
            <a:off x="7041784" y="6201565"/>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11</a:t>
            </a:r>
          </a:p>
        </p:txBody>
      </p:sp>
      <p:sp>
        <p:nvSpPr>
          <p:cNvPr id="2" name="Title 1">
            <a:extLst>
              <a:ext uri="{FF2B5EF4-FFF2-40B4-BE49-F238E27FC236}">
                <a16:creationId xmlns:a16="http://schemas.microsoft.com/office/drawing/2014/main" id="{7D4419DD-AB8D-4AE7-BCFB-EEF4EF91CBDB}"/>
              </a:ext>
            </a:extLst>
          </p:cNvPr>
          <p:cNvSpPr>
            <a:spLocks noGrp="1"/>
          </p:cNvSpPr>
          <p:nvPr>
            <p:ph type="title"/>
          </p:nvPr>
        </p:nvSpPr>
        <p:spPr bwMode="gray"/>
        <p:txBody>
          <a:bodyPr/>
          <a:lstStyle/>
          <a:p>
            <a:r>
              <a:rPr lang="de-DE"/>
              <a:t>Mastertitelformat bearbeiten</a:t>
            </a:r>
            <a:endParaRPr lang="en-US"/>
          </a:p>
        </p:txBody>
      </p:sp>
    </p:spTree>
    <p:extLst>
      <p:ext uri="{BB962C8B-B14F-4D97-AF65-F5344CB8AC3E}">
        <p14:creationId xmlns:p14="http://schemas.microsoft.com/office/powerpoint/2010/main" val="27425509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BF046-331E-4203-8A1F-F3C1620B5499}"/>
              </a:ext>
            </a:extLst>
          </p:cNvPr>
          <p:cNvSpPr>
            <a:spLocks noGrp="1"/>
          </p:cNvSpPr>
          <p:nvPr>
            <p:ph type="title"/>
          </p:nvPr>
        </p:nvSpPr>
        <p:spPr bwMode="gray"/>
        <p:txBody>
          <a:bodyPr/>
          <a:lstStyle/>
          <a:p>
            <a:r>
              <a:rPr lang="de-DE"/>
              <a:t>Mastertitelformat bearbeiten</a:t>
            </a:r>
            <a:endParaRPr lang="en-US"/>
          </a:p>
        </p:txBody>
      </p:sp>
      <p:sp>
        <p:nvSpPr>
          <p:cNvPr id="4" name="Inhaltsplatzhalter 3">
            <a:extLst>
              <a:ext uri="{FF2B5EF4-FFF2-40B4-BE49-F238E27FC236}">
                <a16:creationId xmlns:a16="http://schemas.microsoft.com/office/drawing/2014/main" id="{1D5D567E-F3F9-43B9-9BE7-9BB9BDF7F21B}"/>
              </a:ext>
            </a:extLst>
          </p:cNvPr>
          <p:cNvSpPr>
            <a:spLocks noGrp="1"/>
          </p:cNvSpPr>
          <p:nvPr>
            <p:ph sz="quarter" idx="10"/>
          </p:nvPr>
        </p:nvSpPr>
        <p:spPr>
          <a:xfrm>
            <a:off x="634630" y="1417639"/>
            <a:ext cx="12493003"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95499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6457E-C045-409B-9E41-272639EBBF49}"/>
              </a:ext>
            </a:extLst>
          </p:cNvPr>
          <p:cNvSpPr>
            <a:spLocks noGrp="1"/>
          </p:cNvSpPr>
          <p:nvPr>
            <p:ph type="title"/>
          </p:nvPr>
        </p:nvSpPr>
        <p:spPr bwMode="gray"/>
        <p:txBody>
          <a:bodyPr/>
          <a:lstStyle/>
          <a:p>
            <a:r>
              <a:rPr lang="de-DE"/>
              <a:t>Mastertitelformat bearbeiten</a:t>
            </a:r>
            <a:endParaRPr lang="en-US"/>
          </a:p>
        </p:txBody>
      </p:sp>
      <p:sp>
        <p:nvSpPr>
          <p:cNvPr id="5" name="Inhaltsplatzhalter 3">
            <a:extLst>
              <a:ext uri="{FF2B5EF4-FFF2-40B4-BE49-F238E27FC236}">
                <a16:creationId xmlns:a16="http://schemas.microsoft.com/office/drawing/2014/main" id="{AEB294B2-613B-4C2B-AB58-94E3AD96B66D}"/>
              </a:ext>
            </a:extLst>
          </p:cNvPr>
          <p:cNvSpPr>
            <a:spLocks noGrp="1"/>
          </p:cNvSpPr>
          <p:nvPr>
            <p:ph sz="quarter" idx="10"/>
          </p:nvPr>
        </p:nvSpPr>
        <p:spPr>
          <a:xfrm>
            <a:off x="634630" y="1417639"/>
            <a:ext cx="12493003"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939531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4" name="Inhaltsplatzhalter 3">
            <a:extLst>
              <a:ext uri="{FF2B5EF4-FFF2-40B4-BE49-F238E27FC236}">
                <a16:creationId xmlns:a16="http://schemas.microsoft.com/office/drawing/2014/main" id="{864279A1-2C0D-4ADB-8365-555263453743}"/>
              </a:ext>
            </a:extLst>
          </p:cNvPr>
          <p:cNvSpPr>
            <a:spLocks noGrp="1"/>
          </p:cNvSpPr>
          <p:nvPr>
            <p:ph sz="quarter" idx="10"/>
          </p:nvPr>
        </p:nvSpPr>
        <p:spPr>
          <a:xfrm>
            <a:off x="634630" y="1417639"/>
            <a:ext cx="6086846"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8" name="Inhaltsplatzhalter 3">
            <a:extLst>
              <a:ext uri="{FF2B5EF4-FFF2-40B4-BE49-F238E27FC236}">
                <a16:creationId xmlns:a16="http://schemas.microsoft.com/office/drawing/2014/main" id="{FD99F869-4951-4C34-AB4C-DB5AA355D1CA}"/>
              </a:ext>
            </a:extLst>
          </p:cNvPr>
          <p:cNvSpPr>
            <a:spLocks noGrp="1"/>
          </p:cNvSpPr>
          <p:nvPr>
            <p:ph sz="quarter" idx="11"/>
          </p:nvPr>
        </p:nvSpPr>
        <p:spPr>
          <a:xfrm>
            <a:off x="7038792" y="1427369"/>
            <a:ext cx="6077260"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14229068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2 (2)">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F1072572-9379-4236-B6FE-7484C2278CCD}"/>
              </a:ext>
            </a:extLst>
          </p:cNvPr>
          <p:cNvCxnSpPr>
            <a:cxnSpLocks/>
          </p:cNvCxnSpPr>
          <p:nvPr userDrawn="1"/>
        </p:nvCxnSpPr>
        <p:spPr bwMode="gray">
          <a:xfrm>
            <a:off x="658682" y="1637218"/>
            <a:ext cx="1246895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89E0CE-0FDF-465D-A355-DF537A408FD7}"/>
              </a:ext>
            </a:extLst>
          </p:cNvPr>
          <p:cNvSpPr>
            <a:spLocks noGrp="1"/>
          </p:cNvSpPr>
          <p:nvPr>
            <p:ph type="title"/>
          </p:nvPr>
        </p:nvSpPr>
        <p:spPr bwMode="gray">
          <a:xfrm>
            <a:off x="634631" y="471294"/>
            <a:ext cx="10571473" cy="407480"/>
          </a:xfrm>
        </p:spPr>
        <p:txBody>
          <a:bodyPr/>
          <a:lstStyle/>
          <a:p>
            <a:r>
              <a:rPr lang="de-DE"/>
              <a:t>Mastertitelformat bearbeiten</a:t>
            </a:r>
            <a:endParaRPr lang="en-US"/>
          </a:p>
        </p:txBody>
      </p:sp>
      <p:sp>
        <p:nvSpPr>
          <p:cNvPr id="18" name="Text Placeholder 6">
            <a:extLst>
              <a:ext uri="{FF2B5EF4-FFF2-40B4-BE49-F238E27FC236}">
                <a16:creationId xmlns:a16="http://schemas.microsoft.com/office/drawing/2014/main" id="{59F0279B-8E23-48B7-92B2-349C0915CB17}"/>
              </a:ext>
            </a:extLst>
          </p:cNvPr>
          <p:cNvSpPr>
            <a:spLocks noGrp="1"/>
          </p:cNvSpPr>
          <p:nvPr>
            <p:ph type="body" sz="quarter" idx="25" hasCustomPrompt="1"/>
          </p:nvPr>
        </p:nvSpPr>
        <p:spPr bwMode="gray">
          <a:xfrm>
            <a:off x="653011" y="1371605"/>
            <a:ext cx="12474622" cy="237029"/>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4" name="Inhaltsplatzhalter 3">
            <a:extLst>
              <a:ext uri="{FF2B5EF4-FFF2-40B4-BE49-F238E27FC236}">
                <a16:creationId xmlns:a16="http://schemas.microsoft.com/office/drawing/2014/main" id="{BA57E667-DEDB-446B-B823-BB4CB3B5DB1D}"/>
              </a:ext>
            </a:extLst>
          </p:cNvPr>
          <p:cNvSpPr>
            <a:spLocks noGrp="1"/>
          </p:cNvSpPr>
          <p:nvPr>
            <p:ph sz="quarter" idx="26"/>
          </p:nvPr>
        </p:nvSpPr>
        <p:spPr>
          <a:xfrm>
            <a:off x="634630" y="1819275"/>
            <a:ext cx="12493003" cy="5099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37485879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29AA85A-560B-461D-80F6-DF30E7B248A6}"/>
              </a:ext>
            </a:extLst>
          </p:cNvPr>
          <p:cNvGraphicFramePr>
            <a:graphicFrameLocks noChangeAspect="1"/>
          </p:cNvGraphicFramePr>
          <p:nvPr userDrawn="1">
            <p:custDataLst>
              <p:tags r:id="rId28"/>
            </p:custDataLst>
            <p:extLst>
              <p:ext uri="{D42A27DB-BD31-4B8C-83A1-F6EECF244321}">
                <p14:modId xmlns:p14="http://schemas.microsoft.com/office/powerpoint/2010/main" val="2348777099"/>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1028" name="think-cell Slide" r:id="rId30" imgW="351" imgH="351" progId="TCLayout.ActiveDocument.1">
                  <p:embed/>
                </p:oleObj>
              </mc:Choice>
              <mc:Fallback>
                <p:oleObj name="think-cell Slide" r:id="rId30" imgW="351" imgH="351" progId="TCLayout.ActiveDocument.1">
                  <p:embed/>
                  <p:pic>
                    <p:nvPicPr>
                      <p:cNvPr id="9" name="Object 8" hidden="1">
                        <a:extLst>
                          <a:ext uri="{FF2B5EF4-FFF2-40B4-BE49-F238E27FC236}">
                            <a16:creationId xmlns:a16="http://schemas.microsoft.com/office/drawing/2014/main" id="{329AA85A-560B-461D-80F6-DF30E7B248A6}"/>
                          </a:ext>
                        </a:extLst>
                      </p:cNvPr>
                      <p:cNvPicPr/>
                      <p:nvPr/>
                    </p:nvPicPr>
                    <p:blipFill>
                      <a:blip r:embed="rId31"/>
                      <a:stretch>
                        <a:fillRect/>
                      </a:stretch>
                    </p:blipFill>
                    <p:spPr>
                      <a:xfrm>
                        <a:off x="1998" y="1588"/>
                        <a:ext cx="1996"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B9A1497-200A-47FB-9661-53E6665EEB63}"/>
              </a:ext>
            </a:extLst>
          </p:cNvPr>
          <p:cNvSpPr/>
          <p:nvPr userDrawn="1">
            <p:custDataLst>
              <p:tags r:id="rId29"/>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1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E4BB2C31-7446-43F0-BD7A-95112B729885}"/>
              </a:ext>
            </a:extLst>
          </p:cNvPr>
          <p:cNvSpPr/>
          <p:nvPr/>
        </p:nvSpPr>
        <p:spPr bwMode="gray">
          <a:xfrm>
            <a:off x="2" y="0"/>
            <a:ext cx="1344295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2" name="Title Placeholder 1">
            <a:extLst>
              <a:ext uri="{FF2B5EF4-FFF2-40B4-BE49-F238E27FC236}">
                <a16:creationId xmlns:a16="http://schemas.microsoft.com/office/drawing/2014/main" id="{07E842D7-B92D-4340-BA79-8058034694D2}"/>
              </a:ext>
            </a:extLst>
          </p:cNvPr>
          <p:cNvSpPr>
            <a:spLocks noGrp="1"/>
          </p:cNvSpPr>
          <p:nvPr>
            <p:ph type="title"/>
          </p:nvPr>
        </p:nvSpPr>
        <p:spPr bwMode="gray">
          <a:xfrm>
            <a:off x="634629" y="471294"/>
            <a:ext cx="10546210" cy="374634"/>
          </a:xfrm>
          <a:prstGeom prst="rect">
            <a:avLst/>
          </a:prstGeom>
        </p:spPr>
        <p:txBody>
          <a:bodyPr vert="horz" lIns="0" tIns="0" rIns="0" bIns="0" rtlCol="0" anchor="b" anchorCtr="0">
            <a:no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43C4378D-0771-4208-8A8C-AC6EC1CFFE62}"/>
              </a:ext>
            </a:extLst>
          </p:cNvPr>
          <p:cNvSpPr>
            <a:spLocks noGrp="1"/>
          </p:cNvSpPr>
          <p:nvPr>
            <p:ph type="body" idx="1"/>
          </p:nvPr>
        </p:nvSpPr>
        <p:spPr bwMode="gray">
          <a:xfrm>
            <a:off x="634629" y="1345224"/>
            <a:ext cx="12490010" cy="5570688"/>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a:extLst>
              <a:ext uri="{FF2B5EF4-FFF2-40B4-BE49-F238E27FC236}">
                <a16:creationId xmlns:a16="http://schemas.microsoft.com/office/drawing/2014/main" id="{AF647ED5-28C2-4472-895B-18592FFF5288}"/>
              </a:ext>
            </a:extLst>
          </p:cNvPr>
          <p:cNvSpPr>
            <a:spLocks noGrp="1"/>
          </p:cNvSpPr>
          <p:nvPr>
            <p:ph type="dt" sz="half" idx="2"/>
          </p:nvPr>
        </p:nvSpPr>
        <p:spPr bwMode="gray">
          <a:xfrm>
            <a:off x="592723" y="7603729"/>
            <a:ext cx="777319" cy="211779"/>
          </a:xfrm>
          <a:prstGeom prst="rect">
            <a:avLst/>
          </a:prstGeom>
        </p:spPr>
        <p:txBody>
          <a:bodyPr vert="horz" lIns="0" tIns="0" rIns="0" bIns="0" rtlCol="0" anchor="ctr"/>
          <a:lstStyle>
            <a:lvl1pPr algn="ctr">
              <a:defRPr sz="1131">
                <a:noFill/>
              </a:defRPr>
            </a:lvl1pPr>
            <a:lvl2pPr marL="0" algn="ctr">
              <a:defRPr sz="1131">
                <a:noFill/>
              </a:defRPr>
            </a:lvl2pPr>
            <a:lvl3pPr marL="0" algn="ctr">
              <a:defRPr sz="1131">
                <a:noFill/>
              </a:defRPr>
            </a:lvl3pPr>
            <a:lvl4pPr marL="0" algn="ctr">
              <a:defRPr sz="1131">
                <a:noFill/>
              </a:defRPr>
            </a:lvl4pPr>
            <a:lvl5pPr marL="0" algn="ctr">
              <a:defRPr sz="1131">
                <a:noFill/>
              </a:defRPr>
            </a:lvl5pPr>
            <a:lvl6pPr marL="0" algn="ctr">
              <a:defRPr sz="1131">
                <a:noFill/>
              </a:defRPr>
            </a:lvl6pPr>
            <a:lvl7pPr marL="0" algn="ctr">
              <a:defRPr sz="1131">
                <a:noFill/>
              </a:defRPr>
            </a:lvl7pPr>
            <a:lvl8pPr marL="0" algn="ctr">
              <a:defRPr sz="1131">
                <a:noFill/>
              </a:defRPr>
            </a:lvl8pPr>
            <a:lvl9pPr marL="0" algn="ctr">
              <a:defRPr sz="1131">
                <a:noFill/>
              </a:defRPr>
            </a:lvl9pPr>
          </a:lstStyle>
          <a:p>
            <a:fld id="{CC60022D-6C62-419D-9BC2-A201C6B4C0E9}" type="datetime6">
              <a:rPr lang="de-AT" smtClean="0"/>
              <a:t>Jänner 23</a:t>
            </a:fld>
            <a:endParaRPr lang="en-US"/>
          </a:p>
        </p:txBody>
      </p:sp>
      <p:cxnSp>
        <p:nvCxnSpPr>
          <p:cNvPr id="14" name="Gerader Verbinder 3">
            <a:extLst>
              <a:ext uri="{FF2B5EF4-FFF2-40B4-BE49-F238E27FC236}">
                <a16:creationId xmlns:a16="http://schemas.microsoft.com/office/drawing/2014/main" id="{3F8290B7-9E7A-4ECB-A6D2-3469817EFEF2}"/>
              </a:ext>
            </a:extLst>
          </p:cNvPr>
          <p:cNvCxnSpPr>
            <a:cxnSpLocks/>
          </p:cNvCxnSpPr>
          <p:nvPr/>
        </p:nvCxnSpPr>
        <p:spPr bwMode="gray">
          <a:xfrm>
            <a:off x="634630" y="1013328"/>
            <a:ext cx="1249300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r Verbinder 3">
            <a:extLst>
              <a:ext uri="{FF2B5EF4-FFF2-40B4-BE49-F238E27FC236}">
                <a16:creationId xmlns:a16="http://schemas.microsoft.com/office/drawing/2014/main" id="{50C3DD12-E59B-4FB1-8D53-2402F04E5C09}"/>
              </a:ext>
            </a:extLst>
          </p:cNvPr>
          <p:cNvCxnSpPr>
            <a:cxnSpLocks/>
          </p:cNvCxnSpPr>
          <p:nvPr userDrawn="1"/>
        </p:nvCxnSpPr>
        <p:spPr bwMode="gray">
          <a:xfrm>
            <a:off x="634630" y="7104169"/>
            <a:ext cx="12493003"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23">
            <a:extLst>
              <a:ext uri="{FF2B5EF4-FFF2-40B4-BE49-F238E27FC236}">
                <a16:creationId xmlns:a16="http://schemas.microsoft.com/office/drawing/2014/main" id="{F8EB36AF-42BE-44D7-9663-F87200B0A3D1}"/>
              </a:ext>
            </a:extLst>
          </p:cNvPr>
          <p:cNvCxnSpPr>
            <a:cxnSpLocks/>
          </p:cNvCxnSpPr>
          <p:nvPr userDrawn="1"/>
        </p:nvCxnSpPr>
        <p:spPr>
          <a:xfrm flipV="1">
            <a:off x="1738825" y="7154221"/>
            <a:ext cx="0" cy="180000"/>
          </a:xfrm>
          <a:prstGeom prst="line">
            <a:avLst/>
          </a:prstGeom>
          <a:ln>
            <a:solidFill>
              <a:srgbClr val="A3A3A3"/>
            </a:solidFill>
          </a:ln>
        </p:spPr>
        <p:style>
          <a:lnRef idx="1">
            <a:schemeClr val="accent1"/>
          </a:lnRef>
          <a:fillRef idx="0">
            <a:schemeClr val="accent1"/>
          </a:fillRef>
          <a:effectRef idx="0">
            <a:schemeClr val="accent1"/>
          </a:effectRef>
          <a:fontRef idx="minor">
            <a:schemeClr val="tx1"/>
          </a:fontRef>
        </p:style>
      </p:cxnSp>
      <p:sp>
        <p:nvSpPr>
          <p:cNvPr id="21" name="TextBox 24">
            <a:extLst>
              <a:ext uri="{FF2B5EF4-FFF2-40B4-BE49-F238E27FC236}">
                <a16:creationId xmlns:a16="http://schemas.microsoft.com/office/drawing/2014/main" id="{E30E2159-F0B6-4458-91BD-A3758B0745A7}"/>
              </a:ext>
            </a:extLst>
          </p:cNvPr>
          <p:cNvSpPr txBox="1"/>
          <p:nvPr userDrawn="1"/>
        </p:nvSpPr>
        <p:spPr>
          <a:xfrm>
            <a:off x="1989274" y="7014509"/>
            <a:ext cx="6246094" cy="463733"/>
          </a:xfrm>
          <a:prstGeom prst="rect">
            <a:avLst/>
          </a:prstGeom>
          <a:noFill/>
          <a:ln w="9525">
            <a:noFill/>
          </a:ln>
        </p:spPr>
        <p:txBody>
          <a:bodyPr wrap="square" lIns="135771" tIns="181027" rIns="135771"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30">
                <a:solidFill>
                  <a:srgbClr val="A3A3A3"/>
                </a:solidFill>
                <a:latin typeface="Amalia" panose="020B0504020203020204" pitchFamily="34" charset="0"/>
              </a:rPr>
              <a:t>Bitte </a:t>
            </a:r>
            <a:r>
              <a:rPr lang="en-GB" sz="1130" err="1">
                <a:solidFill>
                  <a:srgbClr val="A3A3A3"/>
                </a:solidFill>
                <a:latin typeface="Amalia" panose="020B0504020203020204" pitchFamily="34" charset="0"/>
              </a:rPr>
              <a:t>beachten</a:t>
            </a:r>
            <a:r>
              <a:rPr lang="en-GB" sz="1130">
                <a:solidFill>
                  <a:srgbClr val="A3A3A3"/>
                </a:solidFill>
                <a:latin typeface="Amalia" panose="020B0504020203020204" pitchFamily="34" charset="0"/>
              </a:rPr>
              <a:t> Sie die </a:t>
            </a:r>
            <a:r>
              <a:rPr lang="en-GB" sz="1130" err="1">
                <a:solidFill>
                  <a:srgbClr val="A3A3A3"/>
                </a:solidFill>
                <a:latin typeface="Amalia" panose="020B0504020203020204" pitchFamily="34" charset="0"/>
              </a:rPr>
              <a:t>Risikohinweise</a:t>
            </a:r>
            <a:r>
              <a:rPr lang="en-GB" sz="1130">
                <a:solidFill>
                  <a:srgbClr val="A3A3A3"/>
                </a:solidFill>
                <a:latin typeface="Amalia" panose="020B0504020203020204" pitchFamily="34" charset="0"/>
              </a:rPr>
              <a:t> und </a:t>
            </a:r>
            <a:r>
              <a:rPr lang="en-GB" sz="1130" err="1">
                <a:solidFill>
                  <a:srgbClr val="A3A3A3"/>
                </a:solidFill>
                <a:latin typeface="Amalia" panose="020B0504020203020204" pitchFamily="34" charset="0"/>
              </a:rPr>
              <a:t>Aufklärungen</a:t>
            </a:r>
            <a:r>
              <a:rPr lang="en-GB" sz="1130">
                <a:solidFill>
                  <a:srgbClr val="A3A3A3"/>
                </a:solidFill>
                <a:latin typeface="Amalia" panose="020B0504020203020204" pitchFamily="34" charset="0"/>
              </a:rPr>
              <a:t> am Ende des </a:t>
            </a:r>
            <a:r>
              <a:rPr lang="en-GB" sz="1130" err="1">
                <a:solidFill>
                  <a:srgbClr val="A3A3A3"/>
                </a:solidFill>
                <a:latin typeface="Amalia" panose="020B0504020203020204" pitchFamily="34" charset="0"/>
              </a:rPr>
              <a:t>Dokuments</a:t>
            </a:r>
            <a:endParaRPr lang="en-US" sz="1130">
              <a:solidFill>
                <a:srgbClr val="A3A3A3"/>
              </a:solidFill>
              <a:latin typeface="Amalia" panose="020B0504020203020204" pitchFamily="34" charset="0"/>
            </a:endParaRPr>
          </a:p>
        </p:txBody>
      </p:sp>
      <p:sp>
        <p:nvSpPr>
          <p:cNvPr id="22" name="TextBox 25">
            <a:extLst>
              <a:ext uri="{FF2B5EF4-FFF2-40B4-BE49-F238E27FC236}">
                <a16:creationId xmlns:a16="http://schemas.microsoft.com/office/drawing/2014/main" id="{08390227-FD6C-453E-9B4F-805D6C5A0DAA}"/>
              </a:ext>
            </a:extLst>
          </p:cNvPr>
          <p:cNvSpPr txBox="1"/>
          <p:nvPr userDrawn="1"/>
        </p:nvSpPr>
        <p:spPr>
          <a:xfrm>
            <a:off x="12504734" y="7001566"/>
            <a:ext cx="622896" cy="360040"/>
          </a:xfrm>
          <a:prstGeom prst="rect">
            <a:avLst/>
          </a:prstGeom>
          <a:noFill/>
          <a:ln w="9525">
            <a:noFill/>
          </a:ln>
        </p:spPr>
        <p:txBody>
          <a:bodyPr wrap="square" lIns="135771" tIns="181027" rIns="135771" bIns="0" rtlCol="0">
            <a:noAutofit/>
          </a:bodyPr>
          <a:lstStyle/>
          <a:p>
            <a:pPr algn="r" defTabSz="1204069"/>
            <a:fld id="{2EFE9AD8-4CF8-4A0A-8D8A-B8E100449A7A}" type="slidenum">
              <a:rPr lang="en-US" sz="1131" smtClean="0">
                <a:solidFill>
                  <a:srgbClr val="A3A3A3"/>
                </a:solidFill>
              </a:rPr>
              <a:pPr algn="r" defTabSz="1204069"/>
              <a:t>‹Nr.›</a:t>
            </a:fld>
            <a:endParaRPr lang="en-US" sz="1131">
              <a:solidFill>
                <a:srgbClr val="A3A3A3"/>
              </a:solidFill>
            </a:endParaRPr>
          </a:p>
        </p:txBody>
      </p:sp>
      <p:sp>
        <p:nvSpPr>
          <p:cNvPr id="25" name="Holder 4">
            <a:extLst>
              <a:ext uri="{FF2B5EF4-FFF2-40B4-BE49-F238E27FC236}">
                <a16:creationId xmlns:a16="http://schemas.microsoft.com/office/drawing/2014/main" id="{469D8425-2B1B-48C4-8CC3-6705EBF610DD}"/>
              </a:ext>
            </a:extLst>
          </p:cNvPr>
          <p:cNvSpPr txBox="1">
            <a:spLocks/>
          </p:cNvSpPr>
          <p:nvPr userDrawn="1"/>
        </p:nvSpPr>
        <p:spPr>
          <a:xfrm>
            <a:off x="641425" y="7172735"/>
            <a:ext cx="1342699" cy="233182"/>
          </a:xfrm>
          <a:prstGeom prst="rect">
            <a:avLst/>
          </a:prstGeom>
        </p:spPr>
        <p:txBody>
          <a:bodyPr lIns="0" tIns="0" rIns="0" bIns="0"/>
          <a:lstStyle>
            <a:defPPr>
              <a:defRPr lang="de-DE"/>
            </a:defPPr>
            <a:lvl1pPr marL="0" algn="l" defTabSz="914400" rtl="0" eaLnBrk="1" latinLnBrk="0" hangingPunct="1">
              <a:defRPr sz="900" b="0" i="0" kern="1200">
                <a:solidFill>
                  <a:srgbClr val="959595"/>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965">
              <a:spcBef>
                <a:spcPts val="143"/>
              </a:spcBef>
            </a:pPr>
            <a:r>
              <a:rPr lang="de-AT" sz="1131">
                <a:latin typeface="Amalia" panose="020B0504020203020204" pitchFamily="34" charset="0"/>
              </a:rPr>
              <a:t>Jänner 2023</a:t>
            </a:r>
          </a:p>
        </p:txBody>
      </p:sp>
      <p:pic>
        <p:nvPicPr>
          <p:cNvPr id="15" name="Picture 19">
            <a:extLst>
              <a:ext uri="{FF2B5EF4-FFF2-40B4-BE49-F238E27FC236}">
                <a16:creationId xmlns:a16="http://schemas.microsoft.com/office/drawing/2014/main" id="{6D45D609-5951-43FD-B9C5-718811A8ACC1}"/>
              </a:ext>
            </a:extLst>
          </p:cNvPr>
          <p:cNvPicPr>
            <a:picLocks noChangeAspect="1"/>
          </p:cNvPicPr>
          <p:nvPr userDrawn="1"/>
        </p:nvPicPr>
        <p:blipFill>
          <a:blip r:embed="rId32"/>
          <a:srcRect/>
          <a:stretch/>
        </p:blipFill>
        <p:spPr>
          <a:xfrm>
            <a:off x="11820051" y="483024"/>
            <a:ext cx="1385840" cy="365075"/>
          </a:xfrm>
          <a:prstGeom prst="rect">
            <a:avLst/>
          </a:prstGeom>
        </p:spPr>
      </p:pic>
    </p:spTree>
    <p:extLst>
      <p:ext uri="{BB962C8B-B14F-4D97-AF65-F5344CB8AC3E}">
        <p14:creationId xmlns:p14="http://schemas.microsoft.com/office/powerpoint/2010/main" val="2046676901"/>
      </p:ext>
    </p:extLst>
  </p:cSld>
  <p:clrMap bg1="lt1" tx1="dk1" bg2="lt2" tx2="dk2" accent1="accent1" accent2="accent2" accent3="accent3" accent4="accent4" accent5="accent5" accent6="accent6" hlink="hlink" folHlink="folHlink"/>
  <p:sldLayoutIdLst>
    <p:sldLayoutId id="2147483674" r:id="rId1"/>
    <p:sldLayoutId id="2147483702" r:id="rId2"/>
    <p:sldLayoutId id="2147483701" r:id="rId3"/>
    <p:sldLayoutId id="2147483675" r:id="rId4"/>
    <p:sldLayoutId id="2147483676" r:id="rId5"/>
    <p:sldLayoutId id="2147483686" r:id="rId6"/>
    <p:sldLayoutId id="2147483677" r:id="rId7"/>
    <p:sldLayoutId id="2147483678" r:id="rId8"/>
    <p:sldLayoutId id="2147483688" r:id="rId9"/>
    <p:sldLayoutId id="2147483690" r:id="rId10"/>
    <p:sldLayoutId id="2147483692" r:id="rId11"/>
    <p:sldLayoutId id="2147483693" r:id="rId12"/>
    <p:sldLayoutId id="2147483691" r:id="rId13"/>
    <p:sldLayoutId id="2147483681" r:id="rId14"/>
    <p:sldLayoutId id="2147483682" r:id="rId15"/>
    <p:sldLayoutId id="2147483695" r:id="rId16"/>
    <p:sldLayoutId id="2147483696" r:id="rId17"/>
    <p:sldLayoutId id="2147483683" r:id="rId18"/>
    <p:sldLayoutId id="2147483684" r:id="rId19"/>
    <p:sldLayoutId id="2147483699" r:id="rId20"/>
    <p:sldLayoutId id="2147483728" r:id="rId21"/>
    <p:sldLayoutId id="2147483730" r:id="rId22"/>
    <p:sldLayoutId id="2147483750" r:id="rId23"/>
    <p:sldLayoutId id="2147483752" r:id="rId24"/>
    <p:sldLayoutId id="2147483769" r:id="rId25"/>
  </p:sldLayoutIdLst>
  <p:hf hdr="0" ftr="0"/>
  <p:txStyles>
    <p:titleStyle>
      <a:lvl1pPr algn="l" defTabSz="1008193" rtl="0" eaLnBrk="1" latinLnBrk="0" hangingPunct="1">
        <a:lnSpc>
          <a:spcPct val="90000"/>
        </a:lnSpc>
        <a:spcBef>
          <a:spcPct val="0"/>
        </a:spcBef>
        <a:buNone/>
        <a:defRPr sz="3017" b="1" kern="1200" cap="none" baseline="0">
          <a:solidFill>
            <a:schemeClr val="tx1"/>
          </a:solidFill>
          <a:latin typeface="Amalia" panose="020B0504020203020204" pitchFamily="34" charset="0"/>
          <a:ea typeface="+mj-ea"/>
          <a:cs typeface="+mj-cs"/>
        </a:defRPr>
      </a:lvl1pPr>
    </p:titleStyle>
    <p:bodyStyle>
      <a:lvl1pPr marL="0" indent="0" algn="l" defTabSz="1008193" rtl="0" eaLnBrk="1" latinLnBrk="0" hangingPunct="1">
        <a:lnSpc>
          <a:spcPct val="120000"/>
        </a:lnSpc>
        <a:spcBef>
          <a:spcPts val="0"/>
        </a:spcBef>
        <a:spcAft>
          <a:spcPts val="755"/>
        </a:spcAft>
        <a:buFont typeface="Symbol" panose="05050102010706020507" pitchFamily="18" charset="2"/>
        <a:buNone/>
        <a:defRPr sz="2011" b="1" kern="1200">
          <a:solidFill>
            <a:schemeClr val="tx1"/>
          </a:solidFill>
          <a:latin typeface="Amalia" panose="020B0504020203020204" pitchFamily="34" charset="0"/>
          <a:ea typeface="+mn-ea"/>
          <a:cs typeface="+mn-cs"/>
        </a:defRPr>
      </a:lvl1pPr>
      <a:lvl2pPr marL="0" indent="0" algn="l" defTabSz="1008193" rtl="0" eaLnBrk="1" latinLnBrk="0" hangingPunct="1">
        <a:lnSpc>
          <a:spcPct val="120000"/>
        </a:lnSpc>
        <a:spcBef>
          <a:spcPts val="0"/>
        </a:spcBef>
        <a:spcAft>
          <a:spcPts val="755"/>
        </a:spcAft>
        <a:buFont typeface="Symbol" panose="05050102010706020507" pitchFamily="18" charset="2"/>
        <a:buNone/>
        <a:defRPr sz="2011" kern="1200">
          <a:solidFill>
            <a:schemeClr val="tx1"/>
          </a:solidFill>
          <a:latin typeface="Amalia" panose="020B0504020203020204" pitchFamily="34" charset="0"/>
          <a:ea typeface="+mn-ea"/>
          <a:cs typeface="+mn-cs"/>
        </a:defRPr>
      </a:lvl2pPr>
      <a:lvl3pPr marL="226273" indent="-226273" algn="l" defTabSz="1008193" rtl="0" eaLnBrk="1" latinLnBrk="0" hangingPunct="1">
        <a:lnSpc>
          <a:spcPct val="120000"/>
        </a:lnSpc>
        <a:spcBef>
          <a:spcPts val="0"/>
        </a:spcBef>
        <a:spcAft>
          <a:spcPts val="755"/>
        </a:spcAft>
        <a:buClr>
          <a:schemeClr val="accent2"/>
        </a:buClr>
        <a:buFont typeface="Wingdings" panose="05000000000000000000" pitchFamily="2" charset="2"/>
        <a:buChar char="§"/>
        <a:defRPr sz="2011" kern="1200">
          <a:solidFill>
            <a:schemeClr val="tx1"/>
          </a:solidFill>
          <a:latin typeface="Amalia" panose="020B0504020203020204" pitchFamily="34" charset="0"/>
          <a:ea typeface="+mn-ea"/>
          <a:cs typeface="+mn-cs"/>
        </a:defRPr>
      </a:lvl3pPr>
      <a:lvl4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Amalia" panose="020B0504020203020204" pitchFamily="34" charset="0"/>
          <a:ea typeface="+mn-ea"/>
          <a:cs typeface="+mn-cs"/>
        </a:defRPr>
      </a:lvl4pPr>
      <a:lvl5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Amalia" panose="020B0504020203020204" pitchFamily="34" charset="0"/>
          <a:ea typeface="+mn-ea"/>
          <a:cs typeface="+mn-cs"/>
        </a:defRPr>
      </a:lvl5pPr>
      <a:lvl6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mn-lt"/>
          <a:ea typeface="+mn-ea"/>
          <a:cs typeface="+mn-cs"/>
        </a:defRPr>
      </a:lvl6pPr>
      <a:lvl7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mn-lt"/>
          <a:ea typeface="+mn-ea"/>
          <a:cs typeface="+mn-cs"/>
        </a:defRPr>
      </a:lvl7pPr>
      <a:lvl8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mn-lt"/>
          <a:ea typeface="+mn-ea"/>
          <a:cs typeface="+mn-cs"/>
        </a:defRPr>
      </a:lvl8pPr>
      <a:lvl9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mn-lt"/>
          <a:ea typeface="+mn-ea"/>
          <a:cs typeface="+mn-cs"/>
        </a:defRPr>
      </a:lvl9pPr>
    </p:bodyStyle>
    <p:otherStyle>
      <a:defPPr>
        <a:defRPr lang="en-US"/>
      </a:defPPr>
      <a:lvl1pPr marL="0" algn="l" defTabSz="1008193" rtl="0" eaLnBrk="1" latinLnBrk="0" hangingPunct="1">
        <a:defRPr sz="1985" kern="1200">
          <a:solidFill>
            <a:schemeClr val="tx1"/>
          </a:solidFill>
          <a:latin typeface="+mn-lt"/>
          <a:ea typeface="+mn-ea"/>
          <a:cs typeface="+mn-cs"/>
        </a:defRPr>
      </a:lvl1pPr>
      <a:lvl2pPr marL="504098" algn="l" defTabSz="1008193" rtl="0" eaLnBrk="1" latinLnBrk="0" hangingPunct="1">
        <a:defRPr sz="1985" kern="1200">
          <a:solidFill>
            <a:schemeClr val="tx1"/>
          </a:solidFill>
          <a:latin typeface="+mn-lt"/>
          <a:ea typeface="+mn-ea"/>
          <a:cs typeface="+mn-cs"/>
        </a:defRPr>
      </a:lvl2pPr>
      <a:lvl3pPr marL="1008193" algn="l" defTabSz="1008193" rtl="0" eaLnBrk="1" latinLnBrk="0" hangingPunct="1">
        <a:defRPr sz="1985" kern="1200">
          <a:solidFill>
            <a:schemeClr val="tx1"/>
          </a:solidFill>
          <a:latin typeface="+mn-lt"/>
          <a:ea typeface="+mn-ea"/>
          <a:cs typeface="+mn-cs"/>
        </a:defRPr>
      </a:lvl3pPr>
      <a:lvl4pPr marL="1512292" algn="l" defTabSz="1008193" rtl="0" eaLnBrk="1" latinLnBrk="0" hangingPunct="1">
        <a:defRPr sz="1985" kern="1200">
          <a:solidFill>
            <a:schemeClr val="tx1"/>
          </a:solidFill>
          <a:latin typeface="+mn-lt"/>
          <a:ea typeface="+mn-ea"/>
          <a:cs typeface="+mn-cs"/>
        </a:defRPr>
      </a:lvl4pPr>
      <a:lvl5pPr marL="2016388" algn="l" defTabSz="1008193" rtl="0" eaLnBrk="1" latinLnBrk="0" hangingPunct="1">
        <a:defRPr sz="1985" kern="1200">
          <a:solidFill>
            <a:schemeClr val="tx1"/>
          </a:solidFill>
          <a:latin typeface="+mn-lt"/>
          <a:ea typeface="+mn-ea"/>
          <a:cs typeface="+mn-cs"/>
        </a:defRPr>
      </a:lvl5pPr>
      <a:lvl6pPr marL="2520488" algn="l" defTabSz="1008193" rtl="0" eaLnBrk="1" latinLnBrk="0" hangingPunct="1">
        <a:defRPr sz="1985" kern="1200">
          <a:solidFill>
            <a:schemeClr val="tx1"/>
          </a:solidFill>
          <a:latin typeface="+mn-lt"/>
          <a:ea typeface="+mn-ea"/>
          <a:cs typeface="+mn-cs"/>
        </a:defRPr>
      </a:lvl6pPr>
      <a:lvl7pPr marL="3024583" algn="l" defTabSz="1008193" rtl="0" eaLnBrk="1" latinLnBrk="0" hangingPunct="1">
        <a:defRPr sz="1985" kern="1200">
          <a:solidFill>
            <a:schemeClr val="tx1"/>
          </a:solidFill>
          <a:latin typeface="+mn-lt"/>
          <a:ea typeface="+mn-ea"/>
          <a:cs typeface="+mn-cs"/>
        </a:defRPr>
      </a:lvl7pPr>
      <a:lvl8pPr marL="3528681" algn="l" defTabSz="1008193" rtl="0" eaLnBrk="1" latinLnBrk="0" hangingPunct="1">
        <a:defRPr sz="1985" kern="1200">
          <a:solidFill>
            <a:schemeClr val="tx1"/>
          </a:solidFill>
          <a:latin typeface="+mn-lt"/>
          <a:ea typeface="+mn-ea"/>
          <a:cs typeface="+mn-cs"/>
        </a:defRPr>
      </a:lvl8pPr>
      <a:lvl9pPr marL="4032778" algn="l" defTabSz="1008193" rtl="0" eaLnBrk="1" latinLnBrk="0" hangingPunct="1">
        <a:defRPr sz="1985" kern="1200">
          <a:solidFill>
            <a:schemeClr val="tx1"/>
          </a:solidFill>
          <a:latin typeface="+mn-lt"/>
          <a:ea typeface="+mn-ea"/>
          <a:cs typeface="+mn-cs"/>
        </a:defRPr>
      </a:lvl9pPr>
    </p:otherStyle>
  </p:txStyles>
  <p:extLst>
    <p:ext uri="{27BBF7A9-308A-43DC-89C8-2F10F3537804}">
      <p15:sldGuideLst xmlns:p15="http://schemas.microsoft.com/office/powerpoint/2012/main">
        <p15:guide id="19" pos="5323" userDrawn="1">
          <p15:clr>
            <a:srgbClr val="F26B43"/>
          </p15:clr>
        </p15:guide>
        <p15:guide id="20" orient="horz" pos="2381" userDrawn="1">
          <p15:clr>
            <a:srgbClr val="F26B43"/>
          </p15:clr>
        </p15:guide>
        <p15:guide id="21" pos="503" userDrawn="1">
          <p15:clr>
            <a:srgbClr val="F26B43"/>
          </p15:clr>
        </p15:guide>
        <p15:guide id="22" pos="10144" userDrawn="1">
          <p15:clr>
            <a:srgbClr val="F26B43"/>
          </p15:clr>
        </p15:guide>
        <p15:guide id="23" pos="5575" userDrawn="1">
          <p15:clr>
            <a:srgbClr val="F26B43"/>
          </p15:clr>
        </p15:guide>
        <p15:guide id="24" pos="5071" userDrawn="1">
          <p15:clr>
            <a:srgbClr val="F26B43"/>
          </p15:clr>
        </p15:guide>
        <p15:guide id="27" orient="horz" pos="4358" userDrawn="1">
          <p15:clr>
            <a:srgbClr val="F26B43"/>
          </p15:clr>
        </p15:guide>
        <p15:guide id="28" orient="horz" pos="893" userDrawn="1">
          <p15:clr>
            <a:srgbClr val="F26B43"/>
          </p15:clr>
        </p15:guide>
        <p15:guide id="30" pos="1039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E1A92C2-A082-9942-F302-33C155DF59A3}"/>
              </a:ext>
            </a:extLst>
          </p:cNvPr>
          <p:cNvSpPr>
            <a:spLocks noGrp="1"/>
          </p:cNvSpPr>
          <p:nvPr>
            <p:ph type="title"/>
          </p:nvPr>
        </p:nvSpPr>
        <p:spPr>
          <a:xfrm>
            <a:off x="923925" y="403225"/>
            <a:ext cx="11595100" cy="1460500"/>
          </a:xfrm>
          <a:prstGeom prst="rect">
            <a:avLst/>
          </a:prstGeom>
        </p:spPr>
        <p:txBody>
          <a:bodyPr vert="horz" lIns="91440" tIns="45720" rIns="91440" bIns="45720" rtlCol="0" anchor="ctr">
            <a:normAutofit/>
          </a:bodyPr>
          <a:lstStyle/>
          <a:p>
            <a:r>
              <a:rPr lang="de-DE"/>
              <a:t>Mastertitelformat bearbeiten</a:t>
            </a:r>
            <a:endParaRPr lang="de-AT"/>
          </a:p>
        </p:txBody>
      </p:sp>
      <p:sp>
        <p:nvSpPr>
          <p:cNvPr id="3" name="Textplatzhalter 2">
            <a:extLst>
              <a:ext uri="{FF2B5EF4-FFF2-40B4-BE49-F238E27FC236}">
                <a16:creationId xmlns:a16="http://schemas.microsoft.com/office/drawing/2014/main" id="{3513547A-B54C-A4E1-98DA-7557737155C4}"/>
              </a:ext>
            </a:extLst>
          </p:cNvPr>
          <p:cNvSpPr>
            <a:spLocks noGrp="1"/>
          </p:cNvSpPr>
          <p:nvPr>
            <p:ph type="body" idx="1"/>
          </p:nvPr>
        </p:nvSpPr>
        <p:spPr>
          <a:xfrm>
            <a:off x="923925" y="2012950"/>
            <a:ext cx="11595100" cy="4797425"/>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B2F7D8AF-738A-63AC-89F9-6603655F325C}"/>
              </a:ext>
            </a:extLst>
          </p:cNvPr>
          <p:cNvSpPr>
            <a:spLocks noGrp="1"/>
          </p:cNvSpPr>
          <p:nvPr>
            <p:ph type="dt" sz="half" idx="2"/>
          </p:nvPr>
        </p:nvSpPr>
        <p:spPr>
          <a:xfrm>
            <a:off x="923925" y="7008813"/>
            <a:ext cx="3024188" cy="401637"/>
          </a:xfrm>
          <a:prstGeom prst="rect">
            <a:avLst/>
          </a:prstGeom>
        </p:spPr>
        <p:txBody>
          <a:bodyPr vert="horz" lIns="91440" tIns="45720" rIns="91440" bIns="45720" rtlCol="0" anchor="ctr"/>
          <a:lstStyle>
            <a:lvl1pPr algn="l">
              <a:defRPr sz="1200">
                <a:solidFill>
                  <a:schemeClr val="tx1">
                    <a:tint val="75000"/>
                  </a:schemeClr>
                </a:solidFill>
              </a:defRPr>
            </a:lvl1pPr>
          </a:lstStyle>
          <a:p>
            <a:fld id="{AA209414-4527-4892-AD72-DA3EFBEE2C48}" type="datetimeFigureOut">
              <a:rPr lang="de-AT" smtClean="0"/>
              <a:t>17.01.2023</a:t>
            </a:fld>
            <a:endParaRPr lang="de-AT"/>
          </a:p>
        </p:txBody>
      </p:sp>
      <p:sp>
        <p:nvSpPr>
          <p:cNvPr id="5" name="Fußzeilenplatzhalter 4">
            <a:extLst>
              <a:ext uri="{FF2B5EF4-FFF2-40B4-BE49-F238E27FC236}">
                <a16:creationId xmlns:a16="http://schemas.microsoft.com/office/drawing/2014/main" id="{BD46770F-54F8-EAFB-0817-F344C711DDD1}"/>
              </a:ext>
            </a:extLst>
          </p:cNvPr>
          <p:cNvSpPr>
            <a:spLocks noGrp="1"/>
          </p:cNvSpPr>
          <p:nvPr>
            <p:ph type="ftr" sz="quarter" idx="3"/>
          </p:nvPr>
        </p:nvSpPr>
        <p:spPr>
          <a:xfrm>
            <a:off x="4452938" y="7008813"/>
            <a:ext cx="4537075" cy="401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a:p>
        </p:txBody>
      </p:sp>
      <p:sp>
        <p:nvSpPr>
          <p:cNvPr id="6" name="Foliennummernplatzhalter 5">
            <a:extLst>
              <a:ext uri="{FF2B5EF4-FFF2-40B4-BE49-F238E27FC236}">
                <a16:creationId xmlns:a16="http://schemas.microsoft.com/office/drawing/2014/main" id="{66DBDB57-DA84-3BAA-17EB-EB415ABE94B9}"/>
              </a:ext>
            </a:extLst>
          </p:cNvPr>
          <p:cNvSpPr>
            <a:spLocks noGrp="1"/>
          </p:cNvSpPr>
          <p:nvPr>
            <p:ph type="sldNum" sz="quarter" idx="4"/>
          </p:nvPr>
        </p:nvSpPr>
        <p:spPr>
          <a:xfrm>
            <a:off x="9494838" y="7008813"/>
            <a:ext cx="3024187" cy="401637"/>
          </a:xfrm>
          <a:prstGeom prst="rect">
            <a:avLst/>
          </a:prstGeom>
        </p:spPr>
        <p:txBody>
          <a:bodyPr vert="horz" lIns="91440" tIns="45720" rIns="91440" bIns="45720" rtlCol="0" anchor="ctr"/>
          <a:lstStyle>
            <a:lvl1pPr algn="r">
              <a:defRPr sz="1200">
                <a:solidFill>
                  <a:schemeClr val="tx1">
                    <a:tint val="75000"/>
                  </a:schemeClr>
                </a:solidFill>
              </a:defRPr>
            </a:lvl1pPr>
          </a:lstStyle>
          <a:p>
            <a:fld id="{44B7315E-228A-49CC-9C1C-4B3F3E584AB2}" type="slidenum">
              <a:rPr lang="de-AT" smtClean="0"/>
              <a:t>‹Nr.›</a:t>
            </a:fld>
            <a:endParaRPr lang="de-AT"/>
          </a:p>
        </p:txBody>
      </p:sp>
    </p:spTree>
    <p:extLst>
      <p:ext uri="{BB962C8B-B14F-4D97-AF65-F5344CB8AC3E}">
        <p14:creationId xmlns:p14="http://schemas.microsoft.com/office/powerpoint/2010/main" val="1333641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hyperlink" Target="http://www.raiffeisenresearch.com/sensitivity_analysis" TargetMode="External"/><Relationship Id="rId2" Type="http://schemas.openxmlformats.org/officeDocument/2006/relationships/hyperlink" Target="http://www.raiffeisenresearch.com/concept_and_methods" TargetMode="External"/><Relationship Id="rId1" Type="http://schemas.openxmlformats.org/officeDocument/2006/relationships/slideLayout" Target="../slideLayouts/slideLayout22.xml"/><Relationship Id="rId5" Type="http://schemas.openxmlformats.org/officeDocument/2006/relationships/hyperlink" Target="https://raiffeisenresearch.com/web/rbi-research-portal/recommendation_history" TargetMode="External"/><Relationship Id="rId4" Type="http://schemas.openxmlformats.org/officeDocument/2006/relationships/hyperlink" Target="http://www.raiffeisenresearch.com/disclosuresobjectivity"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hyperlink" Target="http://eur-lex.europa.eu/legal-content/EN/TXT/?&amp;uri=CELEX:32013R1024" TargetMode="External"/><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34C831D-D711-4640-8E42-90E018353D86}"/>
              </a:ext>
            </a:extLst>
          </p:cNvPr>
          <p:cNvSpPr>
            <a:spLocks noGrp="1"/>
          </p:cNvSpPr>
          <p:nvPr>
            <p:ph type="ctrTitle"/>
          </p:nvPr>
        </p:nvSpPr>
        <p:spPr>
          <a:xfrm>
            <a:off x="634629" y="4715983"/>
            <a:ext cx="10277786" cy="2340459"/>
          </a:xfrm>
        </p:spPr>
        <p:txBody>
          <a:bodyPr/>
          <a:lstStyle/>
          <a:p>
            <a:r>
              <a:rPr lang="de-DE" sz="3200" dirty="0">
                <a:latin typeface="Amalia"/>
              </a:rPr>
              <a:t>Zeitenwende – in Geopolitik, bei Inflation 2023 und </a:t>
            </a:r>
            <a:r>
              <a:rPr lang="de-DE" sz="3200">
                <a:latin typeface="Amalia"/>
              </a:rPr>
              <a:t>am Immobilienmarkt </a:t>
            </a:r>
            <a:endParaRPr lang="en-GB" sz="3200" dirty="0">
              <a:latin typeface="Amalia"/>
            </a:endParaRPr>
          </a:p>
        </p:txBody>
      </p:sp>
      <p:sp>
        <p:nvSpPr>
          <p:cNvPr id="5" name="Untertitel 4">
            <a:extLst>
              <a:ext uri="{FF2B5EF4-FFF2-40B4-BE49-F238E27FC236}">
                <a16:creationId xmlns:a16="http://schemas.microsoft.com/office/drawing/2014/main" id="{39F41F61-8DFA-42BE-B980-54C503D6849A}"/>
              </a:ext>
            </a:extLst>
          </p:cNvPr>
          <p:cNvSpPr>
            <a:spLocks noGrp="1"/>
          </p:cNvSpPr>
          <p:nvPr>
            <p:ph type="subTitle" idx="1"/>
          </p:nvPr>
        </p:nvSpPr>
        <p:spPr/>
        <p:txBody>
          <a:bodyPr/>
          <a:lstStyle/>
          <a:p>
            <a:pPr lvl="0"/>
            <a:r>
              <a:rPr lang="en-US" sz="2400" dirty="0">
                <a:latin typeface="Amalia"/>
              </a:rPr>
              <a:t>Peter </a:t>
            </a:r>
            <a:r>
              <a:rPr lang="en-US" sz="2400" dirty="0" err="1">
                <a:latin typeface="Amalia"/>
              </a:rPr>
              <a:t>Brezinschek</a:t>
            </a:r>
            <a:endParaRPr lang="en-US" sz="2400" dirty="0">
              <a:latin typeface="Amalia"/>
            </a:endParaRPr>
          </a:p>
          <a:p>
            <a:r>
              <a:rPr lang="en-US" sz="2400" dirty="0">
                <a:latin typeface="Amalia"/>
              </a:rPr>
              <a:t>Innsbruck, 19. </a:t>
            </a:r>
            <a:r>
              <a:rPr lang="en-US" sz="2400" dirty="0" err="1">
                <a:latin typeface="Amalia"/>
              </a:rPr>
              <a:t>Jänner</a:t>
            </a:r>
            <a:r>
              <a:rPr lang="en-US" sz="2400" dirty="0">
                <a:latin typeface="Amalia"/>
              </a:rPr>
              <a:t> 2023</a:t>
            </a:r>
          </a:p>
          <a:p>
            <a:pPr lvl="0"/>
            <a:endParaRPr lang="en-US" sz="2400" dirty="0">
              <a:latin typeface="Amalia" panose="020B0504020203020204" pitchFamily="34" charset="0"/>
            </a:endParaRPr>
          </a:p>
          <a:p>
            <a:endParaRPr lang="en-GB" dirty="0"/>
          </a:p>
        </p:txBody>
      </p:sp>
      <p:pic>
        <p:nvPicPr>
          <p:cNvPr id="3" name="Picture 2">
            <a:extLst>
              <a:ext uri="{FF2B5EF4-FFF2-40B4-BE49-F238E27FC236}">
                <a16:creationId xmlns:a16="http://schemas.microsoft.com/office/drawing/2014/main" id="{4BCA7B25-0355-4B82-9EC6-4D8304208C77}"/>
              </a:ext>
            </a:extLst>
          </p:cNvPr>
          <p:cNvPicPr>
            <a:picLocks noChangeAspect="1"/>
          </p:cNvPicPr>
          <p:nvPr/>
        </p:nvPicPr>
        <p:blipFill>
          <a:blip r:embed="rId3"/>
          <a:stretch>
            <a:fillRect/>
          </a:stretch>
        </p:blipFill>
        <p:spPr>
          <a:xfrm>
            <a:off x="800000" y="970144"/>
            <a:ext cx="1797286" cy="1314266"/>
          </a:xfrm>
          <a:prstGeom prst="rect">
            <a:avLst/>
          </a:prstGeom>
        </p:spPr>
      </p:pic>
      <p:sp>
        <p:nvSpPr>
          <p:cNvPr id="8" name="TextBox 7">
            <a:extLst>
              <a:ext uri="{FF2B5EF4-FFF2-40B4-BE49-F238E27FC236}">
                <a16:creationId xmlns:a16="http://schemas.microsoft.com/office/drawing/2014/main" id="{7BB6F94D-6876-48FC-9E44-6468E76F3135}"/>
              </a:ext>
            </a:extLst>
          </p:cNvPr>
          <p:cNvSpPr txBox="1"/>
          <p:nvPr/>
        </p:nvSpPr>
        <p:spPr bwMode="gray">
          <a:xfrm>
            <a:off x="710119" y="23910"/>
            <a:ext cx="6731540" cy="369332"/>
          </a:xfrm>
          <a:prstGeom prst="rect">
            <a:avLst/>
          </a:prstGeom>
          <a:noFill/>
        </p:spPr>
        <p:txBody>
          <a:bodyPr wrap="square">
            <a:spAutoFit/>
          </a:bodyPr>
          <a:lstStyle/>
          <a:p>
            <a:pPr algn="l"/>
            <a:r>
              <a:rPr lang="de-DE" sz="1800" b="1" dirty="0">
                <a:latin typeface="Amalia" panose="020B0504020203020204" pitchFamily="34" charset="0"/>
              </a:rPr>
              <a:t>3. IMMOSTAMMTISCH</a:t>
            </a:r>
            <a:endParaRPr lang="de-AT" sz="1800" b="1" dirty="0">
              <a:latin typeface="Amalia" panose="020B0504020203020204" pitchFamily="34" charset="0"/>
            </a:endParaRPr>
          </a:p>
        </p:txBody>
      </p:sp>
    </p:spTree>
    <p:extLst>
      <p:ext uri="{BB962C8B-B14F-4D97-AF65-F5344CB8AC3E}">
        <p14:creationId xmlns:p14="http://schemas.microsoft.com/office/powerpoint/2010/main" val="18190158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4681A04-4D7A-4A9C-B631-D3982625C36F}"/>
              </a:ext>
            </a:extLst>
          </p:cNvPr>
          <p:cNvSpPr/>
          <p:nvPr/>
        </p:nvSpPr>
        <p:spPr bwMode="gray">
          <a:xfrm>
            <a:off x="634629" y="6651171"/>
            <a:ext cx="4869884" cy="4629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000">
                <a:solidFill>
                  <a:srgbClr val="808080">
                    <a:alpha val="100000"/>
                  </a:srgbClr>
                </a:solidFill>
                <a:latin typeface="Amalia" panose="020B0504020203020204" pitchFamily="34" charset="0"/>
                <a:cs typeface="+mj-cs"/>
              </a:rPr>
              <a:t>Quelle: Refinitiv, RBI/Raiffeisen Research </a:t>
            </a:r>
            <a:endParaRPr lang="en-GB" sz="1000">
              <a:solidFill>
                <a:srgbClr val="808080">
                  <a:alpha val="100000"/>
                </a:srgbClr>
              </a:solidFill>
              <a:latin typeface="Amalia" panose="020B0504020203020204" pitchFamily="34" charset="0"/>
              <a:cs typeface="+mj-cs"/>
            </a:endParaRPr>
          </a:p>
        </p:txBody>
      </p:sp>
      <p:sp>
        <p:nvSpPr>
          <p:cNvPr id="2" name="Titel 1">
            <a:extLst>
              <a:ext uri="{FF2B5EF4-FFF2-40B4-BE49-F238E27FC236}">
                <a16:creationId xmlns:a16="http://schemas.microsoft.com/office/drawing/2014/main" id="{256A7530-4E86-40C1-A6F8-4B1945620E3A}"/>
              </a:ext>
            </a:extLst>
          </p:cNvPr>
          <p:cNvSpPr>
            <a:spLocks noGrp="1"/>
          </p:cNvSpPr>
          <p:nvPr>
            <p:ph type="title"/>
          </p:nvPr>
        </p:nvSpPr>
        <p:spPr/>
        <p:txBody>
          <a:bodyPr/>
          <a:lstStyle/>
          <a:p>
            <a:r>
              <a:rPr lang="de-DE" sz="2400"/>
              <a:t>KONJUNKTURAUSBLICK: UMFRAGEINDIKATOREN</a:t>
            </a:r>
            <a:br>
              <a:rPr lang="de-DE" sz="2400" b="0">
                <a:solidFill>
                  <a:schemeClr val="bg1">
                    <a:lumMod val="50000"/>
                  </a:schemeClr>
                </a:solidFill>
              </a:rPr>
            </a:br>
            <a:r>
              <a:rPr lang="de-DE" sz="2400" b="0">
                <a:solidFill>
                  <a:schemeClr val="bg1">
                    <a:lumMod val="50000"/>
                  </a:schemeClr>
                </a:solidFill>
              </a:rPr>
              <a:t>Bodenbildung zeichnet sich ab</a:t>
            </a:r>
            <a:endParaRPr lang="de-DE" sz="2400"/>
          </a:p>
        </p:txBody>
      </p:sp>
      <p:graphicFrame>
        <p:nvGraphicFramePr>
          <p:cNvPr id="7" name="Diagramm 6">
            <a:extLst>
              <a:ext uri="{FF2B5EF4-FFF2-40B4-BE49-F238E27FC236}">
                <a16:creationId xmlns:a16="http://schemas.microsoft.com/office/drawing/2014/main" id="{85B5FBBF-B07A-4924-92BB-9A53E7E2784A}"/>
              </a:ext>
            </a:extLst>
          </p:cNvPr>
          <p:cNvGraphicFramePr>
            <a:graphicFrameLocks/>
          </p:cNvGraphicFramePr>
          <p:nvPr>
            <p:extLst>
              <p:ext uri="{D42A27DB-BD31-4B8C-83A1-F6EECF244321}">
                <p14:modId xmlns:p14="http://schemas.microsoft.com/office/powerpoint/2010/main" val="1728649845"/>
              </p:ext>
            </p:extLst>
          </p:nvPr>
        </p:nvGraphicFramePr>
        <p:xfrm>
          <a:off x="721360" y="1179857"/>
          <a:ext cx="12086961" cy="55473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42277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803A0F00-F1C1-48D8-A338-ED5AE38853E8}"/>
              </a:ext>
            </a:extLst>
          </p:cNvPr>
          <p:cNvSpPr/>
          <p:nvPr/>
        </p:nvSpPr>
        <p:spPr bwMode="gray">
          <a:xfrm>
            <a:off x="686080" y="6686837"/>
            <a:ext cx="4869884" cy="4629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000">
                <a:solidFill>
                  <a:srgbClr val="808080">
                    <a:alpha val="100000"/>
                  </a:srgbClr>
                </a:solidFill>
                <a:latin typeface="Amalia" panose="020B0504020203020204" pitchFamily="34" charset="0"/>
                <a:cs typeface="+mj-cs"/>
              </a:rPr>
              <a:t>Quelle: Refinitiv, RBI/Raiffeisen Research </a:t>
            </a:r>
            <a:endParaRPr lang="en-GB" sz="1000">
              <a:solidFill>
                <a:srgbClr val="808080">
                  <a:alpha val="100000"/>
                </a:srgbClr>
              </a:solidFill>
              <a:latin typeface="Amalia" panose="020B0504020203020204" pitchFamily="34" charset="0"/>
              <a:cs typeface="+mj-cs"/>
            </a:endParaRPr>
          </a:p>
        </p:txBody>
      </p:sp>
      <p:sp>
        <p:nvSpPr>
          <p:cNvPr id="2" name="Titel 1">
            <a:extLst>
              <a:ext uri="{FF2B5EF4-FFF2-40B4-BE49-F238E27FC236}">
                <a16:creationId xmlns:a16="http://schemas.microsoft.com/office/drawing/2014/main" id="{182EA1A1-9FA9-48B8-97F1-1AD64162C632}"/>
              </a:ext>
            </a:extLst>
          </p:cNvPr>
          <p:cNvSpPr>
            <a:spLocks noGrp="1"/>
          </p:cNvSpPr>
          <p:nvPr>
            <p:ph type="title"/>
          </p:nvPr>
        </p:nvSpPr>
        <p:spPr/>
        <p:txBody>
          <a:bodyPr/>
          <a:lstStyle/>
          <a:p>
            <a:r>
              <a:rPr lang="de-AT" sz="2400"/>
              <a:t>ÖSTERREICH: NACH REZESSION ZU JAHRESBEGINN</a:t>
            </a:r>
            <a:br>
              <a:rPr lang="de-AT" sz="2400"/>
            </a:br>
            <a:r>
              <a:rPr lang="de-AT" sz="2400" b="0">
                <a:solidFill>
                  <a:schemeClr val="bg1">
                    <a:lumMod val="50000"/>
                  </a:schemeClr>
                </a:solidFill>
              </a:rPr>
              <a:t>folgt Konjunkturerholung im zweiten Halbjahr</a:t>
            </a:r>
          </a:p>
        </p:txBody>
      </p:sp>
      <p:graphicFrame>
        <p:nvGraphicFramePr>
          <p:cNvPr id="7" name="Diagramm 6">
            <a:extLst>
              <a:ext uri="{FF2B5EF4-FFF2-40B4-BE49-F238E27FC236}">
                <a16:creationId xmlns:a16="http://schemas.microsoft.com/office/drawing/2014/main" id="{5FFA148B-5847-4CB6-9E21-288FD76A777F}"/>
              </a:ext>
            </a:extLst>
          </p:cNvPr>
          <p:cNvGraphicFramePr>
            <a:graphicFrameLocks/>
          </p:cNvGraphicFramePr>
          <p:nvPr>
            <p:extLst>
              <p:ext uri="{D42A27DB-BD31-4B8C-83A1-F6EECF244321}">
                <p14:modId xmlns:p14="http://schemas.microsoft.com/office/powerpoint/2010/main" val="1435021374"/>
              </p:ext>
            </p:extLst>
          </p:nvPr>
        </p:nvGraphicFramePr>
        <p:xfrm>
          <a:off x="634629" y="1344908"/>
          <a:ext cx="6405563" cy="519652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Diagramm 9">
            <a:extLst>
              <a:ext uri="{FF2B5EF4-FFF2-40B4-BE49-F238E27FC236}">
                <a16:creationId xmlns:a16="http://schemas.microsoft.com/office/drawing/2014/main" id="{F9204EA9-1A83-4840-901F-72EAFA450E01}"/>
              </a:ext>
            </a:extLst>
          </p:cNvPr>
          <p:cNvGraphicFramePr>
            <a:graphicFrameLocks/>
          </p:cNvGraphicFramePr>
          <p:nvPr>
            <p:extLst>
              <p:ext uri="{D42A27DB-BD31-4B8C-83A1-F6EECF244321}">
                <p14:modId xmlns:p14="http://schemas.microsoft.com/office/powerpoint/2010/main" val="4115762197"/>
              </p:ext>
            </p:extLst>
          </p:nvPr>
        </p:nvGraphicFramePr>
        <p:xfrm>
          <a:off x="7040192" y="1333254"/>
          <a:ext cx="6086475" cy="521983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38360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9EA80E8-8089-37BA-0508-75E77F70C7B9}"/>
              </a:ext>
            </a:extLst>
          </p:cNvPr>
          <p:cNvSpPr>
            <a:spLocks noGrp="1"/>
          </p:cNvSpPr>
          <p:nvPr>
            <p:ph type="title"/>
          </p:nvPr>
        </p:nvSpPr>
        <p:spPr>
          <a:xfrm>
            <a:off x="634629" y="471294"/>
            <a:ext cx="10546210" cy="374634"/>
          </a:xfrm>
        </p:spPr>
        <p:txBody>
          <a:bodyPr/>
          <a:lstStyle/>
          <a:p>
            <a:r>
              <a:rPr lang="de-DE" sz="2400"/>
              <a:t>GELDPOLITIK USA &amp; EUROPA</a:t>
            </a:r>
            <a:br>
              <a:rPr lang="de-DE" sz="2400"/>
            </a:br>
            <a:r>
              <a:rPr lang="de-DE" sz="2400" b="0">
                <a:solidFill>
                  <a:schemeClr val="bg1">
                    <a:lumMod val="50000"/>
                  </a:schemeClr>
                </a:solidFill>
              </a:rPr>
              <a:t>Langfristig gewisse Gleichförmigkeit der Geldpolitik (mit Verzögerung)</a:t>
            </a:r>
            <a:endParaRPr lang="en-US" sz="2400"/>
          </a:p>
        </p:txBody>
      </p:sp>
      <p:grpSp>
        <p:nvGrpSpPr>
          <p:cNvPr id="11" name="Gruppieren 10">
            <a:extLst>
              <a:ext uri="{FF2B5EF4-FFF2-40B4-BE49-F238E27FC236}">
                <a16:creationId xmlns:a16="http://schemas.microsoft.com/office/drawing/2014/main" id="{D871017D-1093-41CA-97DE-A010BA7D9591}"/>
              </a:ext>
            </a:extLst>
          </p:cNvPr>
          <p:cNvGrpSpPr/>
          <p:nvPr/>
        </p:nvGrpSpPr>
        <p:grpSpPr>
          <a:xfrm>
            <a:off x="634629" y="1147849"/>
            <a:ext cx="12471771" cy="5711110"/>
            <a:chOff x="506610" y="1147849"/>
            <a:chExt cx="12429730" cy="5711110"/>
          </a:xfrm>
        </p:grpSpPr>
        <p:graphicFrame>
          <p:nvGraphicFramePr>
            <p:cNvPr id="6" name="Chart 6">
              <a:extLst>
                <a:ext uri="{FF2B5EF4-FFF2-40B4-BE49-F238E27FC236}">
                  <a16:creationId xmlns:a16="http://schemas.microsoft.com/office/drawing/2014/main" id="{4125B8B2-FB03-40BE-9DEC-23B5CF72F3DC}"/>
                </a:ext>
              </a:extLst>
            </p:cNvPr>
            <p:cNvGraphicFramePr>
              <a:graphicFrameLocks/>
            </p:cNvGraphicFramePr>
            <p:nvPr>
              <p:extLst>
                <p:ext uri="{D42A27DB-BD31-4B8C-83A1-F6EECF244321}">
                  <p14:modId xmlns:p14="http://schemas.microsoft.com/office/powerpoint/2010/main" val="2267305648"/>
                </p:ext>
              </p:extLst>
            </p:nvPr>
          </p:nvGraphicFramePr>
          <p:xfrm>
            <a:off x="506610" y="1147849"/>
            <a:ext cx="12429730" cy="5588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4">
              <a:extLst>
                <a:ext uri="{FF2B5EF4-FFF2-40B4-BE49-F238E27FC236}">
                  <a16:creationId xmlns:a16="http://schemas.microsoft.com/office/drawing/2014/main" id="{D8B18618-B4A6-4C32-9BD1-4148516D72F5}"/>
                </a:ext>
              </a:extLst>
            </p:cNvPr>
            <p:cNvSpPr/>
            <p:nvPr/>
          </p:nvSpPr>
          <p:spPr>
            <a:xfrm>
              <a:off x="634629" y="6612738"/>
              <a:ext cx="2496196" cy="246221"/>
            </a:xfrm>
            <a:prstGeom prst="rect">
              <a:avLst/>
            </a:prstGeom>
          </p:spPr>
          <p:txBody>
            <a:bodyPr wrap="none">
              <a:spAutoFit/>
            </a:bodyPr>
            <a:lstStyle/>
            <a:p>
              <a:pPr defTabSz="1008148" eaLnBrk="0" fontAlgn="base" hangingPunct="0">
                <a:spcBef>
                  <a:spcPct val="0"/>
                </a:spcBef>
                <a:spcAft>
                  <a:spcPct val="0"/>
                </a:spcAft>
              </a:pPr>
              <a:r>
                <a:rPr lang="de-DE" sz="1000">
                  <a:solidFill>
                    <a:srgbClr val="808080">
                      <a:alpha val="100000"/>
                    </a:srgbClr>
                  </a:solidFill>
                  <a:latin typeface="Amalia" panose="020B0504020203020204" pitchFamily="34" charset="0"/>
                </a:rPr>
                <a:t>Quelle: </a:t>
              </a:r>
              <a:r>
                <a:rPr lang="de-DE" sz="1000" err="1">
                  <a:solidFill>
                    <a:srgbClr val="808080">
                      <a:alpha val="100000"/>
                    </a:srgbClr>
                  </a:solidFill>
                  <a:latin typeface="Amalia" panose="020B0504020203020204" pitchFamily="34" charset="0"/>
                </a:rPr>
                <a:t>Refinitiv</a:t>
              </a:r>
              <a:r>
                <a:rPr lang="de-DE" sz="1000">
                  <a:solidFill>
                    <a:srgbClr val="808080">
                      <a:alpha val="100000"/>
                    </a:srgbClr>
                  </a:solidFill>
                  <a:latin typeface="Amalia" panose="020B0504020203020204" pitchFamily="34" charset="0"/>
                </a:rPr>
                <a:t>, RBI/Raiffeisen Research</a:t>
              </a:r>
              <a:endParaRPr lang="en-US" sz="1000">
                <a:solidFill>
                  <a:srgbClr val="808080">
                    <a:alpha val="100000"/>
                  </a:srgbClr>
                </a:solidFill>
                <a:latin typeface="Amalia" panose="020B0504020203020204" pitchFamily="34" charset="0"/>
              </a:endParaRPr>
            </a:p>
          </p:txBody>
        </p:sp>
        <p:sp>
          <p:nvSpPr>
            <p:cNvPr id="2" name="Ellipse 1">
              <a:extLst>
                <a:ext uri="{FF2B5EF4-FFF2-40B4-BE49-F238E27FC236}">
                  <a16:creationId xmlns:a16="http://schemas.microsoft.com/office/drawing/2014/main" id="{D17F6530-5568-4AFB-9D20-0EA7B571C5C1}"/>
                </a:ext>
              </a:extLst>
            </p:cNvPr>
            <p:cNvSpPr/>
            <p:nvPr/>
          </p:nvSpPr>
          <p:spPr bwMode="gray">
            <a:xfrm>
              <a:off x="11894750" y="4551903"/>
              <a:ext cx="744516" cy="80386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err="1">
                <a:solidFill>
                  <a:schemeClr val="tx1"/>
                </a:solidFill>
              </a:endParaRPr>
            </a:p>
          </p:txBody>
        </p:sp>
      </p:grpSp>
    </p:spTree>
    <p:extLst>
      <p:ext uri="{BB962C8B-B14F-4D97-AF65-F5344CB8AC3E}">
        <p14:creationId xmlns:p14="http://schemas.microsoft.com/office/powerpoint/2010/main" val="3114125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C23432-4F12-489D-9ADF-9DE67D265093}"/>
              </a:ext>
            </a:extLst>
          </p:cNvPr>
          <p:cNvSpPr>
            <a:spLocks noGrp="1"/>
          </p:cNvSpPr>
          <p:nvPr>
            <p:ph type="title"/>
          </p:nvPr>
        </p:nvSpPr>
        <p:spPr/>
        <p:txBody>
          <a:bodyPr/>
          <a:lstStyle/>
          <a:p>
            <a:r>
              <a:rPr lang="de-DE" sz="2400"/>
              <a:t>RENTENMARKT EUROZONE</a:t>
            </a:r>
            <a:br>
              <a:rPr lang="de-DE" sz="2400"/>
            </a:br>
            <a:r>
              <a:rPr lang="de-DE" sz="2400" b="0">
                <a:solidFill>
                  <a:schemeClr val="bg1">
                    <a:lumMod val="50000"/>
                  </a:schemeClr>
                </a:solidFill>
              </a:rPr>
              <a:t>Atemberaubender Renditeanstieg, aber auch Spread-Ausweitung in AT </a:t>
            </a:r>
            <a:r>
              <a:rPr lang="de-DE" sz="2400" b="0" err="1">
                <a:solidFill>
                  <a:schemeClr val="bg1">
                    <a:lumMod val="50000"/>
                  </a:schemeClr>
                </a:solidFill>
              </a:rPr>
              <a:t>ggü</a:t>
            </a:r>
            <a:r>
              <a:rPr lang="de-DE" sz="2400" b="0">
                <a:solidFill>
                  <a:schemeClr val="bg1">
                    <a:lumMod val="50000"/>
                  </a:schemeClr>
                </a:solidFill>
              </a:rPr>
              <a:t>. DE</a:t>
            </a:r>
          </a:p>
        </p:txBody>
      </p:sp>
      <p:graphicFrame>
        <p:nvGraphicFramePr>
          <p:cNvPr id="8" name="Diagramm 5">
            <a:extLst>
              <a:ext uri="{FF2B5EF4-FFF2-40B4-BE49-F238E27FC236}">
                <a16:creationId xmlns:a16="http://schemas.microsoft.com/office/drawing/2014/main" id="{26B764C3-F94F-4565-979B-A46A8B8BB4B6}"/>
              </a:ext>
            </a:extLst>
          </p:cNvPr>
          <p:cNvGraphicFramePr>
            <a:graphicFrameLocks/>
          </p:cNvGraphicFramePr>
          <p:nvPr/>
        </p:nvGraphicFramePr>
        <p:xfrm>
          <a:off x="393095" y="1004173"/>
          <a:ext cx="12656759" cy="555291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994D45A-7196-4E95-AD5D-B53B5472600E}"/>
              </a:ext>
            </a:extLst>
          </p:cNvPr>
          <p:cNvSpPr txBox="1"/>
          <p:nvPr/>
        </p:nvSpPr>
        <p:spPr bwMode="gray">
          <a:xfrm>
            <a:off x="527539" y="6646863"/>
            <a:ext cx="6722346" cy="246221"/>
          </a:xfrm>
          <a:prstGeom prst="rect">
            <a:avLst/>
          </a:prstGeom>
          <a:noFill/>
        </p:spPr>
        <p:txBody>
          <a:bodyPr wrap="square">
            <a:spAutoFit/>
          </a:bodyPr>
          <a:lstStyle/>
          <a:p>
            <a:r>
              <a:rPr lang="de-DE" sz="1000" dirty="0">
                <a:solidFill>
                  <a:srgbClr val="808080">
                    <a:alpha val="100000"/>
                  </a:srgbClr>
                </a:solidFill>
                <a:latin typeface="Amalia"/>
                <a:cs typeface="Amalia"/>
                <a:sym typeface="Amalia"/>
              </a:rPr>
              <a:t>Quelle: </a:t>
            </a:r>
            <a:r>
              <a:rPr lang="de-DE" sz="1000" dirty="0" err="1">
                <a:solidFill>
                  <a:srgbClr val="808080">
                    <a:alpha val="100000"/>
                  </a:srgbClr>
                </a:solidFill>
                <a:latin typeface="Amalia"/>
                <a:cs typeface="Amalia"/>
                <a:sym typeface="Amalia"/>
              </a:rPr>
              <a:t>Refinitiv</a:t>
            </a:r>
            <a:r>
              <a:rPr lang="de-DE" sz="1000" dirty="0">
                <a:solidFill>
                  <a:srgbClr val="808080">
                    <a:alpha val="100000"/>
                  </a:srgbClr>
                </a:solidFill>
                <a:latin typeface="Amalia"/>
                <a:cs typeface="Amalia"/>
                <a:sym typeface="Amalia"/>
              </a:rPr>
              <a:t>, IBES, RBI/</a:t>
            </a:r>
            <a:r>
              <a:rPr lang="de-DE" sz="1000" dirty="0" err="1">
                <a:solidFill>
                  <a:srgbClr val="808080">
                    <a:alpha val="100000"/>
                  </a:srgbClr>
                </a:solidFill>
                <a:latin typeface="Amalia"/>
                <a:cs typeface="Amalia"/>
                <a:sym typeface="Amalia"/>
              </a:rPr>
              <a:t>Raifeisen</a:t>
            </a:r>
            <a:r>
              <a:rPr lang="de-DE" sz="1000" dirty="0">
                <a:solidFill>
                  <a:srgbClr val="808080">
                    <a:alpha val="100000"/>
                  </a:srgbClr>
                </a:solidFill>
                <a:latin typeface="Amalia"/>
                <a:cs typeface="Amalia"/>
                <a:sym typeface="Amalia"/>
              </a:rPr>
              <a:t> Research</a:t>
            </a:r>
            <a:endParaRPr lang="de-DE" sz="1000" dirty="0"/>
          </a:p>
        </p:txBody>
      </p:sp>
    </p:spTree>
    <p:extLst>
      <p:ext uri="{BB962C8B-B14F-4D97-AF65-F5344CB8AC3E}">
        <p14:creationId xmlns:p14="http://schemas.microsoft.com/office/powerpoint/2010/main" val="3522816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692AB-64D7-46AE-8ACD-C4F02B083127}"/>
              </a:ext>
            </a:extLst>
          </p:cNvPr>
          <p:cNvSpPr>
            <a:spLocks noGrp="1"/>
          </p:cNvSpPr>
          <p:nvPr>
            <p:ph type="title"/>
          </p:nvPr>
        </p:nvSpPr>
        <p:spPr/>
        <p:txBody>
          <a:bodyPr/>
          <a:lstStyle/>
          <a:p>
            <a:r>
              <a:rPr lang="de-DE" sz="2400" dirty="0">
                <a:latin typeface="Amalia" panose="020B0504020203020204" pitchFamily="34" charset="0"/>
              </a:rPr>
              <a:t>IMMOBILIENKREDITE: ZINSWENDE </a:t>
            </a:r>
            <a:br>
              <a:rPr lang="de-DE" sz="2400" dirty="0">
                <a:latin typeface="Amalia" panose="020B0504020203020204" pitchFamily="34" charset="0"/>
              </a:rPr>
            </a:br>
            <a:r>
              <a:rPr lang="de-AT" sz="2400" b="0" dirty="0">
                <a:solidFill>
                  <a:schemeClr val="bg1">
                    <a:lumMod val="50000"/>
                  </a:schemeClr>
                </a:solidFill>
                <a:latin typeface="Amalia" panose="020B0504020203020204" pitchFamily="34" charset="0"/>
              </a:rPr>
              <a:t>treibt Hypothekarzinsen nach oben</a:t>
            </a:r>
            <a:endParaRPr lang="en-GB" sz="2400" dirty="0"/>
          </a:p>
        </p:txBody>
      </p:sp>
      <p:sp>
        <p:nvSpPr>
          <p:cNvPr id="7" name="Rectangle 4">
            <a:extLst>
              <a:ext uri="{FF2B5EF4-FFF2-40B4-BE49-F238E27FC236}">
                <a16:creationId xmlns:a16="http://schemas.microsoft.com/office/drawing/2014/main" id="{2D5AF541-1A33-4E22-9F5F-2F2DA6DD07F8}"/>
              </a:ext>
            </a:extLst>
          </p:cNvPr>
          <p:cNvSpPr/>
          <p:nvPr/>
        </p:nvSpPr>
        <p:spPr>
          <a:xfrm>
            <a:off x="804093" y="6672104"/>
            <a:ext cx="2866490" cy="246221"/>
          </a:xfrm>
          <a:prstGeom prst="rect">
            <a:avLst/>
          </a:prstGeom>
        </p:spPr>
        <p:txBody>
          <a:bodyPr wrap="none">
            <a:spAutoFit/>
          </a:bodyPr>
          <a:lstStyle/>
          <a:p>
            <a:pPr defTabSz="1008148" eaLnBrk="0" fontAlgn="base" hangingPunct="0">
              <a:spcBef>
                <a:spcPct val="0"/>
              </a:spcBef>
              <a:spcAft>
                <a:spcPct val="0"/>
              </a:spcAft>
            </a:pPr>
            <a:r>
              <a:rPr lang="de-DE" sz="1000" dirty="0">
                <a:solidFill>
                  <a:srgbClr val="808080">
                    <a:alpha val="100000"/>
                  </a:srgbClr>
                </a:solidFill>
                <a:latin typeface="Amalia" panose="020B0504020203020204" pitchFamily="34" charset="0"/>
              </a:rPr>
              <a:t>Quelle: OeNB, </a:t>
            </a:r>
            <a:r>
              <a:rPr lang="de-DE" sz="1000" dirty="0" err="1">
                <a:solidFill>
                  <a:srgbClr val="808080">
                    <a:alpha val="100000"/>
                  </a:srgbClr>
                </a:solidFill>
                <a:latin typeface="Amalia" panose="020B0504020203020204" pitchFamily="34" charset="0"/>
              </a:rPr>
              <a:t>Refinitiv</a:t>
            </a:r>
            <a:r>
              <a:rPr lang="de-DE" sz="1000" dirty="0">
                <a:solidFill>
                  <a:srgbClr val="808080">
                    <a:alpha val="100000"/>
                  </a:srgbClr>
                </a:solidFill>
                <a:latin typeface="Amalia" panose="020B0504020203020204" pitchFamily="34" charset="0"/>
              </a:rPr>
              <a:t>, </a:t>
            </a:r>
            <a:r>
              <a:rPr lang="de-AT" sz="1000" dirty="0">
                <a:solidFill>
                  <a:srgbClr val="808080">
                    <a:alpha val="100000"/>
                  </a:srgbClr>
                </a:solidFill>
                <a:latin typeface="Amalia" panose="020B0504020203020204" pitchFamily="34" charset="0"/>
              </a:rPr>
              <a:t>RBI/</a:t>
            </a:r>
            <a:r>
              <a:rPr lang="de-DE" sz="1000" dirty="0">
                <a:solidFill>
                  <a:srgbClr val="808080">
                    <a:alpha val="100000"/>
                  </a:srgbClr>
                </a:solidFill>
                <a:latin typeface="Amalia" panose="020B0504020203020204" pitchFamily="34" charset="0"/>
              </a:rPr>
              <a:t>Raiffeisen Research</a:t>
            </a:r>
            <a:endParaRPr lang="en-US" sz="1000" dirty="0">
              <a:solidFill>
                <a:srgbClr val="808080">
                  <a:alpha val="100000"/>
                </a:srgbClr>
              </a:solidFill>
              <a:latin typeface="Amalia" panose="020B0504020203020204" pitchFamily="34" charset="0"/>
            </a:endParaRPr>
          </a:p>
        </p:txBody>
      </p:sp>
      <p:graphicFrame>
        <p:nvGraphicFramePr>
          <p:cNvPr id="5" name="Diagramm 4">
            <a:extLst>
              <a:ext uri="{FF2B5EF4-FFF2-40B4-BE49-F238E27FC236}">
                <a16:creationId xmlns:a16="http://schemas.microsoft.com/office/drawing/2014/main" id="{A6B42551-87BC-43DB-8442-107E65A2A5E5}"/>
              </a:ext>
            </a:extLst>
          </p:cNvPr>
          <p:cNvGraphicFramePr>
            <a:graphicFrameLocks/>
          </p:cNvGraphicFramePr>
          <p:nvPr>
            <p:extLst>
              <p:ext uri="{D42A27DB-BD31-4B8C-83A1-F6EECF244321}">
                <p14:modId xmlns:p14="http://schemas.microsoft.com/office/powerpoint/2010/main" val="4158576113"/>
              </p:ext>
            </p:extLst>
          </p:nvPr>
        </p:nvGraphicFramePr>
        <p:xfrm>
          <a:off x="742931" y="1405912"/>
          <a:ext cx="12535650" cy="526619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26694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747D8D-45E7-4649-A4B5-4508FAA4E9C9}"/>
              </a:ext>
            </a:extLst>
          </p:cNvPr>
          <p:cNvSpPr>
            <a:spLocks noGrp="1"/>
          </p:cNvSpPr>
          <p:nvPr>
            <p:ph type="title"/>
          </p:nvPr>
        </p:nvSpPr>
        <p:spPr>
          <a:xfrm>
            <a:off x="624607" y="459387"/>
            <a:ext cx="11185053" cy="402304"/>
          </a:xfrm>
        </p:spPr>
        <p:txBody>
          <a:bodyPr/>
          <a:lstStyle/>
          <a:p>
            <a:r>
              <a:rPr lang="de-DE">
                <a:latin typeface="Amalia" panose="020B0504020203020204" pitchFamily="34" charset="0"/>
              </a:rPr>
              <a:t>ÖSTERREICH: WOHNIMMOBILIENMARKT &amp; DIE ZINSWENDE</a:t>
            </a:r>
            <a:br>
              <a:rPr lang="de-DE">
                <a:latin typeface="Amalia" panose="020B0504020203020204" pitchFamily="34" charset="0"/>
              </a:rPr>
            </a:br>
            <a:r>
              <a:rPr lang="de-DE" b="0">
                <a:solidFill>
                  <a:schemeClr val="bg1">
                    <a:lumMod val="50000"/>
                  </a:schemeClr>
                </a:solidFill>
                <a:latin typeface="Amalia" panose="020B0504020203020204" pitchFamily="34" charset="0"/>
              </a:rPr>
              <a:t>Preisliche Vollbremsung in der zweiten Jahreshälfte 2022</a:t>
            </a:r>
            <a:endParaRPr lang="de-AT">
              <a:latin typeface="Amalia" panose="020B0504020203020204" pitchFamily="34" charset="0"/>
            </a:endParaRPr>
          </a:p>
        </p:txBody>
      </p:sp>
      <p:sp>
        <p:nvSpPr>
          <p:cNvPr id="7" name="Content Placeholder 59">
            <a:extLst>
              <a:ext uri="{FF2B5EF4-FFF2-40B4-BE49-F238E27FC236}">
                <a16:creationId xmlns:a16="http://schemas.microsoft.com/office/drawing/2014/main" id="{D0BFC114-3D17-4B29-B32B-A03CA9986B1D}"/>
              </a:ext>
            </a:extLst>
          </p:cNvPr>
          <p:cNvSpPr txBox="1">
            <a:spLocks/>
          </p:cNvSpPr>
          <p:nvPr/>
        </p:nvSpPr>
        <p:spPr bwMode="gray">
          <a:xfrm>
            <a:off x="625270" y="6708750"/>
            <a:ext cx="4841366" cy="208705"/>
          </a:xfrm>
          <a:prstGeom prst="rect">
            <a:avLst/>
          </a:prstGeom>
        </p:spPr>
        <p:txBody>
          <a:bodyPr/>
          <a:lstStyle>
            <a:defPPr>
              <a:defRPr lang="en-US"/>
            </a:defPPr>
            <a:lvl1pPr indent="0" defTabSz="1008193">
              <a:lnSpc>
                <a:spcPct val="100000"/>
              </a:lnSpc>
              <a:spcBef>
                <a:spcPts val="0"/>
              </a:spcBef>
              <a:spcAft>
                <a:spcPts val="0"/>
              </a:spcAft>
              <a:buFont typeface="Symbol" panose="05050102010706020507" pitchFamily="18" charset="2"/>
              <a:buNone/>
              <a:defRPr sz="800" b="0">
                <a:solidFill>
                  <a:srgbClr val="808080">
                    <a:alpha val="100000"/>
                  </a:srgbClr>
                </a:solidFill>
                <a:latin typeface="Century Gothic"/>
                <a:cs typeface="Century Gothic"/>
              </a:defRPr>
            </a:lvl1pPr>
            <a:lvl2pPr marL="0" indent="0" defTabSz="1008193">
              <a:lnSpc>
                <a:spcPct val="120000"/>
              </a:lnSpc>
              <a:spcBef>
                <a:spcPts val="0"/>
              </a:spcBef>
              <a:spcAft>
                <a:spcPts val="755"/>
              </a:spcAft>
              <a:buFont typeface="Symbol" panose="05050102010706020507" pitchFamily="18" charset="2"/>
              <a:buNone/>
              <a:defRPr sz="2011"/>
            </a:lvl2pPr>
            <a:lvl3pPr marL="226273" indent="-226273" defTabSz="1008193">
              <a:lnSpc>
                <a:spcPct val="120000"/>
              </a:lnSpc>
              <a:spcBef>
                <a:spcPts val="0"/>
              </a:spcBef>
              <a:spcAft>
                <a:spcPts val="755"/>
              </a:spcAft>
              <a:buClr>
                <a:schemeClr val="accent2"/>
              </a:buClr>
              <a:buFont typeface="Wingdings" panose="05000000000000000000" pitchFamily="2" charset="2"/>
              <a:buChar char="§"/>
              <a:defRPr sz="2011"/>
            </a:lvl3pPr>
            <a:lvl4pPr marL="452545" indent="-226273" defTabSz="1008193">
              <a:lnSpc>
                <a:spcPct val="120000"/>
              </a:lnSpc>
              <a:spcBef>
                <a:spcPts val="0"/>
              </a:spcBef>
              <a:spcAft>
                <a:spcPts val="755"/>
              </a:spcAft>
              <a:buClr>
                <a:schemeClr val="accent2"/>
              </a:buClr>
              <a:buFont typeface="Symbol" panose="05050102010706020507" pitchFamily="18" charset="2"/>
              <a:buChar char=""/>
              <a:defRPr sz="2011"/>
            </a:lvl4pPr>
            <a:lvl5pPr marL="452545" indent="-226273" defTabSz="1008193">
              <a:lnSpc>
                <a:spcPct val="120000"/>
              </a:lnSpc>
              <a:spcBef>
                <a:spcPts val="0"/>
              </a:spcBef>
              <a:spcAft>
                <a:spcPts val="755"/>
              </a:spcAft>
              <a:buClr>
                <a:schemeClr val="accent2"/>
              </a:buClr>
              <a:buFont typeface="Symbol" panose="05050102010706020507" pitchFamily="18" charset="2"/>
              <a:buChar char=""/>
              <a:defRPr sz="2011"/>
            </a:lvl5pPr>
            <a:lvl6pPr marL="452545" indent="-226273" defTabSz="1008193">
              <a:lnSpc>
                <a:spcPct val="120000"/>
              </a:lnSpc>
              <a:spcBef>
                <a:spcPts val="0"/>
              </a:spcBef>
              <a:spcAft>
                <a:spcPts val="755"/>
              </a:spcAft>
              <a:buClr>
                <a:schemeClr val="accent2"/>
              </a:buClr>
              <a:buFont typeface="Symbol" panose="05050102010706020507" pitchFamily="18" charset="2"/>
              <a:buChar char=""/>
              <a:defRPr sz="2011"/>
            </a:lvl6pPr>
            <a:lvl7pPr marL="452545" indent="-226273" defTabSz="1008193">
              <a:lnSpc>
                <a:spcPct val="120000"/>
              </a:lnSpc>
              <a:spcBef>
                <a:spcPts val="0"/>
              </a:spcBef>
              <a:spcAft>
                <a:spcPts val="755"/>
              </a:spcAft>
              <a:buClr>
                <a:schemeClr val="accent2"/>
              </a:buClr>
              <a:buFont typeface="Symbol" panose="05050102010706020507" pitchFamily="18" charset="2"/>
              <a:buChar char=""/>
              <a:defRPr sz="2011"/>
            </a:lvl7pPr>
            <a:lvl8pPr marL="452545" indent="-226273" defTabSz="1008193">
              <a:lnSpc>
                <a:spcPct val="120000"/>
              </a:lnSpc>
              <a:spcBef>
                <a:spcPts val="0"/>
              </a:spcBef>
              <a:spcAft>
                <a:spcPts val="755"/>
              </a:spcAft>
              <a:buClr>
                <a:schemeClr val="accent2"/>
              </a:buClr>
              <a:buFont typeface="Symbol" panose="05050102010706020507" pitchFamily="18" charset="2"/>
              <a:buChar char=""/>
              <a:defRPr sz="2011"/>
            </a:lvl8pPr>
            <a:lvl9pPr marL="452545" indent="-226273" defTabSz="1008193">
              <a:lnSpc>
                <a:spcPct val="120000"/>
              </a:lnSpc>
              <a:spcBef>
                <a:spcPts val="0"/>
              </a:spcBef>
              <a:spcAft>
                <a:spcPts val="755"/>
              </a:spcAft>
              <a:buClr>
                <a:schemeClr val="accent2"/>
              </a:buClr>
              <a:buFont typeface="Symbol" panose="05050102010706020507" pitchFamily="18" charset="2"/>
              <a:buChar char=""/>
              <a:defRPr sz="2011"/>
            </a:lvl9pPr>
          </a:lstStyle>
          <a:p>
            <a:pPr defTabSz="1008080">
              <a:defRPr/>
            </a:pPr>
            <a:r>
              <a:rPr lang="de-AT" sz="1000">
                <a:latin typeface="Amalia" panose="020B0504020203020204" pitchFamily="34" charset="0"/>
                <a:cs typeface="+mj-cs"/>
              </a:rPr>
              <a:t>Quelle: OeNB (OeNB-Immobilienpreisindex), RBI/Raiffeisen Research</a:t>
            </a:r>
          </a:p>
        </p:txBody>
      </p:sp>
      <p:sp>
        <p:nvSpPr>
          <p:cNvPr id="11" name="Content Placeholder 59">
            <a:extLst>
              <a:ext uri="{FF2B5EF4-FFF2-40B4-BE49-F238E27FC236}">
                <a16:creationId xmlns:a16="http://schemas.microsoft.com/office/drawing/2014/main" id="{08733CA2-69E4-41D4-B682-7E4694C688D3}"/>
              </a:ext>
            </a:extLst>
          </p:cNvPr>
          <p:cNvSpPr txBox="1">
            <a:spLocks/>
          </p:cNvSpPr>
          <p:nvPr/>
        </p:nvSpPr>
        <p:spPr bwMode="gray">
          <a:xfrm>
            <a:off x="6639558" y="6703017"/>
            <a:ext cx="4841366" cy="208705"/>
          </a:xfrm>
          <a:prstGeom prst="rect">
            <a:avLst/>
          </a:prstGeom>
        </p:spPr>
        <p:txBody>
          <a:bodyPr/>
          <a:lstStyle>
            <a:defPPr>
              <a:defRPr lang="en-US"/>
            </a:defPPr>
            <a:lvl1pPr indent="0" defTabSz="1008193">
              <a:lnSpc>
                <a:spcPct val="100000"/>
              </a:lnSpc>
              <a:spcBef>
                <a:spcPts val="0"/>
              </a:spcBef>
              <a:spcAft>
                <a:spcPts val="0"/>
              </a:spcAft>
              <a:buFont typeface="Symbol" panose="05050102010706020507" pitchFamily="18" charset="2"/>
              <a:buNone/>
              <a:defRPr sz="800" b="0">
                <a:solidFill>
                  <a:srgbClr val="808080">
                    <a:alpha val="100000"/>
                  </a:srgbClr>
                </a:solidFill>
                <a:latin typeface="Century Gothic"/>
                <a:cs typeface="Century Gothic"/>
              </a:defRPr>
            </a:lvl1pPr>
            <a:lvl2pPr marL="0" indent="0" defTabSz="1008193">
              <a:lnSpc>
                <a:spcPct val="120000"/>
              </a:lnSpc>
              <a:spcBef>
                <a:spcPts val="0"/>
              </a:spcBef>
              <a:spcAft>
                <a:spcPts val="755"/>
              </a:spcAft>
              <a:buFont typeface="Symbol" panose="05050102010706020507" pitchFamily="18" charset="2"/>
              <a:buNone/>
              <a:defRPr sz="2011"/>
            </a:lvl2pPr>
            <a:lvl3pPr marL="226273" indent="-226273" defTabSz="1008193">
              <a:lnSpc>
                <a:spcPct val="120000"/>
              </a:lnSpc>
              <a:spcBef>
                <a:spcPts val="0"/>
              </a:spcBef>
              <a:spcAft>
                <a:spcPts val="755"/>
              </a:spcAft>
              <a:buClr>
                <a:schemeClr val="accent2"/>
              </a:buClr>
              <a:buFont typeface="Wingdings" panose="05000000000000000000" pitchFamily="2" charset="2"/>
              <a:buChar char="§"/>
              <a:defRPr sz="2011"/>
            </a:lvl3pPr>
            <a:lvl4pPr marL="452545" indent="-226273" defTabSz="1008193">
              <a:lnSpc>
                <a:spcPct val="120000"/>
              </a:lnSpc>
              <a:spcBef>
                <a:spcPts val="0"/>
              </a:spcBef>
              <a:spcAft>
                <a:spcPts val="755"/>
              </a:spcAft>
              <a:buClr>
                <a:schemeClr val="accent2"/>
              </a:buClr>
              <a:buFont typeface="Symbol" panose="05050102010706020507" pitchFamily="18" charset="2"/>
              <a:buChar char=""/>
              <a:defRPr sz="2011"/>
            </a:lvl4pPr>
            <a:lvl5pPr marL="452545" indent="-226273" defTabSz="1008193">
              <a:lnSpc>
                <a:spcPct val="120000"/>
              </a:lnSpc>
              <a:spcBef>
                <a:spcPts val="0"/>
              </a:spcBef>
              <a:spcAft>
                <a:spcPts val="755"/>
              </a:spcAft>
              <a:buClr>
                <a:schemeClr val="accent2"/>
              </a:buClr>
              <a:buFont typeface="Symbol" panose="05050102010706020507" pitchFamily="18" charset="2"/>
              <a:buChar char=""/>
              <a:defRPr sz="2011"/>
            </a:lvl5pPr>
            <a:lvl6pPr marL="452545" indent="-226273" defTabSz="1008193">
              <a:lnSpc>
                <a:spcPct val="120000"/>
              </a:lnSpc>
              <a:spcBef>
                <a:spcPts val="0"/>
              </a:spcBef>
              <a:spcAft>
                <a:spcPts val="755"/>
              </a:spcAft>
              <a:buClr>
                <a:schemeClr val="accent2"/>
              </a:buClr>
              <a:buFont typeface="Symbol" panose="05050102010706020507" pitchFamily="18" charset="2"/>
              <a:buChar char=""/>
              <a:defRPr sz="2011"/>
            </a:lvl6pPr>
            <a:lvl7pPr marL="452545" indent="-226273" defTabSz="1008193">
              <a:lnSpc>
                <a:spcPct val="120000"/>
              </a:lnSpc>
              <a:spcBef>
                <a:spcPts val="0"/>
              </a:spcBef>
              <a:spcAft>
                <a:spcPts val="755"/>
              </a:spcAft>
              <a:buClr>
                <a:schemeClr val="accent2"/>
              </a:buClr>
              <a:buFont typeface="Symbol" panose="05050102010706020507" pitchFamily="18" charset="2"/>
              <a:buChar char=""/>
              <a:defRPr sz="2011"/>
            </a:lvl7pPr>
            <a:lvl8pPr marL="452545" indent="-226273" defTabSz="1008193">
              <a:lnSpc>
                <a:spcPct val="120000"/>
              </a:lnSpc>
              <a:spcBef>
                <a:spcPts val="0"/>
              </a:spcBef>
              <a:spcAft>
                <a:spcPts val="755"/>
              </a:spcAft>
              <a:buClr>
                <a:schemeClr val="accent2"/>
              </a:buClr>
              <a:buFont typeface="Symbol" panose="05050102010706020507" pitchFamily="18" charset="2"/>
              <a:buChar char=""/>
              <a:defRPr sz="2011"/>
            </a:lvl8pPr>
            <a:lvl9pPr marL="452545" indent="-226273" defTabSz="1008193">
              <a:lnSpc>
                <a:spcPct val="120000"/>
              </a:lnSpc>
              <a:spcBef>
                <a:spcPts val="0"/>
              </a:spcBef>
              <a:spcAft>
                <a:spcPts val="755"/>
              </a:spcAft>
              <a:buClr>
                <a:schemeClr val="accent2"/>
              </a:buClr>
              <a:buFont typeface="Symbol" panose="05050102010706020507" pitchFamily="18" charset="2"/>
              <a:buChar char=""/>
              <a:defRPr sz="2011"/>
            </a:lvl9pPr>
          </a:lstStyle>
          <a:p>
            <a:pPr defTabSz="1008080">
              <a:defRPr/>
            </a:pPr>
            <a:r>
              <a:rPr lang="de-AT" sz="1000">
                <a:latin typeface="Amalia" panose="020B0504020203020204" pitchFamily="34" charset="0"/>
                <a:cs typeface="+mj-cs"/>
              </a:rPr>
              <a:t>Quelle: OeNB (OeNB-Immobilienpreisindex), RBI/Raiffeisen Research</a:t>
            </a:r>
          </a:p>
        </p:txBody>
      </p:sp>
      <p:graphicFrame>
        <p:nvGraphicFramePr>
          <p:cNvPr id="8" name="Diagramm 7">
            <a:extLst>
              <a:ext uri="{FF2B5EF4-FFF2-40B4-BE49-F238E27FC236}">
                <a16:creationId xmlns:a16="http://schemas.microsoft.com/office/drawing/2014/main" id="{39D9B007-7A1B-43C8-96EE-B27688E109AE}"/>
              </a:ext>
            </a:extLst>
          </p:cNvPr>
          <p:cNvGraphicFramePr>
            <a:graphicFrameLocks/>
          </p:cNvGraphicFramePr>
          <p:nvPr/>
        </p:nvGraphicFramePr>
        <p:xfrm>
          <a:off x="634999" y="1417637"/>
          <a:ext cx="6086476" cy="52142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Diagramm 8">
            <a:extLst>
              <a:ext uri="{FF2B5EF4-FFF2-40B4-BE49-F238E27FC236}">
                <a16:creationId xmlns:a16="http://schemas.microsoft.com/office/drawing/2014/main" id="{3F27B88B-BBE5-4AC3-AAF4-52610A62E311}"/>
              </a:ext>
            </a:extLst>
          </p:cNvPr>
          <p:cNvGraphicFramePr>
            <a:graphicFrameLocks/>
          </p:cNvGraphicFramePr>
          <p:nvPr/>
        </p:nvGraphicFramePr>
        <p:xfrm>
          <a:off x="6721475" y="1417637"/>
          <a:ext cx="6405563" cy="523437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34290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0-#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0-#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0-#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p:bldGraphic spid="8" grpId="0">
        <p:bldAsOne/>
      </p:bldGraphic>
      <p:bldGraphic spid="9"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DBE80-1ECB-4C02-BD32-AC8D0FA11931}"/>
              </a:ext>
            </a:extLst>
          </p:cNvPr>
          <p:cNvSpPr>
            <a:spLocks noGrp="1"/>
          </p:cNvSpPr>
          <p:nvPr>
            <p:ph type="title"/>
          </p:nvPr>
        </p:nvSpPr>
        <p:spPr/>
        <p:txBody>
          <a:bodyPr/>
          <a:lstStyle/>
          <a:p>
            <a:r>
              <a:rPr lang="de-AT" sz="2400" dirty="0"/>
              <a:t>BAUPREISE: WOHNUNGS/SIEDLUNGSBAU RÜCKLÄUFIG</a:t>
            </a:r>
            <a:br>
              <a:rPr lang="de-AT" sz="2400" dirty="0"/>
            </a:br>
            <a:r>
              <a:rPr lang="de-AT" sz="2400" b="0" dirty="0"/>
              <a:t>Straßen- und Brückenbau mit höherer Inflation</a:t>
            </a:r>
            <a:endParaRPr lang="de-AT" b="0" dirty="0"/>
          </a:p>
        </p:txBody>
      </p:sp>
      <p:pic>
        <p:nvPicPr>
          <p:cNvPr id="5" name="Inhaltsplatzhalter 4">
            <a:extLst>
              <a:ext uri="{FF2B5EF4-FFF2-40B4-BE49-F238E27FC236}">
                <a16:creationId xmlns:a16="http://schemas.microsoft.com/office/drawing/2014/main" id="{33C0CD93-3BFD-4431-9D3A-B38C2C4C0377}"/>
              </a:ext>
            </a:extLst>
          </p:cNvPr>
          <p:cNvPicPr>
            <a:picLocks noGrp="1" noChangeAspect="1"/>
          </p:cNvPicPr>
          <p:nvPr>
            <p:ph sz="quarter" idx="10"/>
          </p:nvPr>
        </p:nvPicPr>
        <p:blipFill>
          <a:blip r:embed="rId2"/>
          <a:stretch>
            <a:fillRect/>
          </a:stretch>
        </p:blipFill>
        <p:spPr>
          <a:xfrm>
            <a:off x="475456" y="1511964"/>
            <a:ext cx="12492038" cy="4796285"/>
          </a:xfrm>
        </p:spPr>
      </p:pic>
      <p:sp>
        <p:nvSpPr>
          <p:cNvPr id="8" name="Textfeld 7">
            <a:extLst>
              <a:ext uri="{FF2B5EF4-FFF2-40B4-BE49-F238E27FC236}">
                <a16:creationId xmlns:a16="http://schemas.microsoft.com/office/drawing/2014/main" id="{704D9874-B3BC-4F13-944C-48707ED14DFF}"/>
              </a:ext>
            </a:extLst>
          </p:cNvPr>
          <p:cNvSpPr txBox="1"/>
          <p:nvPr/>
        </p:nvSpPr>
        <p:spPr bwMode="gray">
          <a:xfrm>
            <a:off x="695385" y="6650965"/>
            <a:ext cx="2562046" cy="153888"/>
          </a:xfrm>
          <a:prstGeom prst="rect">
            <a:avLst/>
          </a:prstGeom>
          <a:noFill/>
        </p:spPr>
        <p:txBody>
          <a:bodyPr wrap="square" lIns="0" tIns="0" rIns="0" bIns="0" rtlCol="0">
            <a:spAutoFit/>
          </a:bodyPr>
          <a:lstStyle/>
          <a:p>
            <a:pPr algn="l"/>
            <a:r>
              <a:rPr lang="de-DE" sz="1000" dirty="0"/>
              <a:t>Quelle: </a:t>
            </a:r>
            <a:r>
              <a:rPr lang="de-DE" sz="1000" dirty="0">
                <a:latin typeface="Amalia" panose="020B0504020203020204" pitchFamily="34" charset="0"/>
              </a:rPr>
              <a:t>Statistik</a:t>
            </a:r>
            <a:r>
              <a:rPr lang="de-DE" sz="1000" dirty="0"/>
              <a:t> Austria</a:t>
            </a:r>
          </a:p>
        </p:txBody>
      </p:sp>
      <p:sp>
        <p:nvSpPr>
          <p:cNvPr id="3" name="Textfeld 2">
            <a:extLst>
              <a:ext uri="{FF2B5EF4-FFF2-40B4-BE49-F238E27FC236}">
                <a16:creationId xmlns:a16="http://schemas.microsoft.com/office/drawing/2014/main" id="{1BA787AB-BCBA-4B4F-9A5A-5E654E80C245}"/>
              </a:ext>
            </a:extLst>
          </p:cNvPr>
          <p:cNvSpPr txBox="1"/>
          <p:nvPr/>
        </p:nvSpPr>
        <p:spPr bwMode="gray">
          <a:xfrm>
            <a:off x="10739887" y="1837426"/>
            <a:ext cx="1144544" cy="246221"/>
          </a:xfrm>
          <a:prstGeom prst="rect">
            <a:avLst/>
          </a:prstGeom>
          <a:noFill/>
        </p:spPr>
        <p:txBody>
          <a:bodyPr wrap="none" lIns="0" tIns="0" rIns="0" bIns="0" rtlCol="0">
            <a:spAutoFit/>
          </a:bodyPr>
          <a:lstStyle/>
          <a:p>
            <a:pPr algn="l"/>
            <a:r>
              <a:rPr lang="de-DE" sz="1600" b="1" dirty="0">
                <a:solidFill>
                  <a:srgbClr val="C00000"/>
                </a:solidFill>
              </a:rPr>
              <a:t>Straßenbau</a:t>
            </a:r>
          </a:p>
        </p:txBody>
      </p:sp>
      <p:sp>
        <p:nvSpPr>
          <p:cNvPr id="4" name="Textfeld 3">
            <a:extLst>
              <a:ext uri="{FF2B5EF4-FFF2-40B4-BE49-F238E27FC236}">
                <a16:creationId xmlns:a16="http://schemas.microsoft.com/office/drawing/2014/main" id="{04B43C22-67F5-4E09-A1E5-7A1F70C247A3}"/>
              </a:ext>
            </a:extLst>
          </p:cNvPr>
          <p:cNvSpPr txBox="1"/>
          <p:nvPr/>
        </p:nvSpPr>
        <p:spPr bwMode="gray">
          <a:xfrm>
            <a:off x="11312159" y="3435575"/>
            <a:ext cx="1431482" cy="246221"/>
          </a:xfrm>
          <a:prstGeom prst="rect">
            <a:avLst/>
          </a:prstGeom>
          <a:noFill/>
        </p:spPr>
        <p:txBody>
          <a:bodyPr wrap="none" lIns="0" tIns="0" rIns="0" bIns="0" rtlCol="0">
            <a:spAutoFit/>
          </a:bodyPr>
          <a:lstStyle/>
          <a:p>
            <a:pPr algn="l"/>
            <a:r>
              <a:rPr lang="de-DE" sz="1600" b="1" dirty="0">
                <a:solidFill>
                  <a:schemeClr val="accent3"/>
                </a:solidFill>
              </a:rPr>
              <a:t>Wohnhausbau</a:t>
            </a:r>
          </a:p>
        </p:txBody>
      </p:sp>
      <p:sp>
        <p:nvSpPr>
          <p:cNvPr id="6" name="Textfeld 5">
            <a:extLst>
              <a:ext uri="{FF2B5EF4-FFF2-40B4-BE49-F238E27FC236}">
                <a16:creationId xmlns:a16="http://schemas.microsoft.com/office/drawing/2014/main" id="{AA3A9826-9EB9-49B4-8D2C-016379F1E572}"/>
              </a:ext>
            </a:extLst>
          </p:cNvPr>
          <p:cNvSpPr txBox="1"/>
          <p:nvPr/>
        </p:nvSpPr>
        <p:spPr bwMode="gray">
          <a:xfrm>
            <a:off x="4330460" y="3088257"/>
            <a:ext cx="1208664" cy="246221"/>
          </a:xfrm>
          <a:prstGeom prst="rect">
            <a:avLst/>
          </a:prstGeom>
          <a:noFill/>
        </p:spPr>
        <p:txBody>
          <a:bodyPr wrap="none" lIns="0" tIns="0" rIns="0" bIns="0" rtlCol="0">
            <a:spAutoFit/>
          </a:bodyPr>
          <a:lstStyle/>
          <a:p>
            <a:pPr algn="l"/>
            <a:r>
              <a:rPr lang="de-DE" sz="1600" b="1" dirty="0">
                <a:solidFill>
                  <a:schemeClr val="bg1">
                    <a:lumMod val="50000"/>
                  </a:schemeClr>
                </a:solidFill>
              </a:rPr>
              <a:t>Brückenbau</a:t>
            </a:r>
          </a:p>
        </p:txBody>
      </p:sp>
      <p:sp>
        <p:nvSpPr>
          <p:cNvPr id="7" name="Textfeld 6">
            <a:extLst>
              <a:ext uri="{FF2B5EF4-FFF2-40B4-BE49-F238E27FC236}">
                <a16:creationId xmlns:a16="http://schemas.microsoft.com/office/drawing/2014/main" id="{8B92B9A1-5B33-469C-B23D-C33934D6DC4B}"/>
              </a:ext>
            </a:extLst>
          </p:cNvPr>
          <p:cNvSpPr txBox="1"/>
          <p:nvPr/>
        </p:nvSpPr>
        <p:spPr bwMode="gray">
          <a:xfrm>
            <a:off x="8022566" y="3534410"/>
            <a:ext cx="2019784" cy="246221"/>
          </a:xfrm>
          <a:prstGeom prst="rect">
            <a:avLst/>
          </a:prstGeom>
          <a:noFill/>
        </p:spPr>
        <p:txBody>
          <a:bodyPr wrap="none" lIns="0" tIns="0" rIns="0" bIns="0" rtlCol="0">
            <a:spAutoFit/>
          </a:bodyPr>
          <a:lstStyle/>
          <a:p>
            <a:pPr algn="l"/>
            <a:r>
              <a:rPr lang="de-DE" sz="1600" b="1" dirty="0">
                <a:solidFill>
                  <a:schemeClr val="bg1">
                    <a:lumMod val="65000"/>
                  </a:schemeClr>
                </a:solidFill>
              </a:rPr>
              <a:t>Siedlungswasserbau</a:t>
            </a:r>
          </a:p>
        </p:txBody>
      </p:sp>
    </p:spTree>
    <p:extLst>
      <p:ext uri="{BB962C8B-B14F-4D97-AF65-F5344CB8AC3E}">
        <p14:creationId xmlns:p14="http://schemas.microsoft.com/office/powerpoint/2010/main" val="2170456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0-#ppt_w/2"/>
                                          </p:val>
                                        </p:tav>
                                        <p:tav tm="100000">
                                          <p:val>
                                            <p:strVal val="#ppt_x"/>
                                          </p:val>
                                        </p:tav>
                                      </p:tavLst>
                                    </p:anim>
                                    <p:anim calcmode="lin" valueType="num">
                                      <p:cBhvr additive="base">
                                        <p:cTn id="18" dur="500" fill="hold"/>
                                        <p:tgtEl>
                                          <p:spTgt spid="3"/>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500" fill="hold"/>
                                        <p:tgtEl>
                                          <p:spTgt spid="4"/>
                                        </p:tgtEl>
                                        <p:attrNameLst>
                                          <p:attrName>ppt_x</p:attrName>
                                        </p:attrNameLst>
                                      </p:cBhvr>
                                      <p:tavLst>
                                        <p:tav tm="0">
                                          <p:val>
                                            <p:strVal val="0-#ppt_w/2"/>
                                          </p:val>
                                        </p:tav>
                                        <p:tav tm="100000">
                                          <p:val>
                                            <p:strVal val="#ppt_x"/>
                                          </p:val>
                                        </p:tav>
                                      </p:tavLst>
                                    </p:anim>
                                    <p:anim calcmode="lin" valueType="num">
                                      <p:cBhvr additive="base">
                                        <p:cTn id="23" dur="500" fill="hold"/>
                                        <p:tgtEl>
                                          <p:spTgt spid="4"/>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0-#ppt_w/2"/>
                                          </p:val>
                                        </p:tav>
                                        <p:tav tm="100000">
                                          <p:val>
                                            <p:strVal val="#ppt_x"/>
                                          </p:val>
                                        </p:tav>
                                      </p:tavLst>
                                    </p:anim>
                                    <p:anim calcmode="lin" valueType="num">
                                      <p:cBhvr additive="base">
                                        <p:cTn id="28" dur="500" fill="hold"/>
                                        <p:tgtEl>
                                          <p:spTgt spid="6"/>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7"/>
                                        </p:tgtEl>
                                        <p:attrNameLst>
                                          <p:attrName>style.visibility</p:attrName>
                                        </p:attrNameLst>
                                      </p:cBhvr>
                                      <p:to>
                                        <p:strVal val="visible"/>
                                      </p:to>
                                    </p:set>
                                    <p:anim calcmode="lin" valueType="num">
                                      <p:cBhvr additive="base">
                                        <p:cTn id="32" dur="500" fill="hold"/>
                                        <p:tgtEl>
                                          <p:spTgt spid="7"/>
                                        </p:tgtEl>
                                        <p:attrNameLst>
                                          <p:attrName>ppt_x</p:attrName>
                                        </p:attrNameLst>
                                      </p:cBhvr>
                                      <p:tavLst>
                                        <p:tav tm="0">
                                          <p:val>
                                            <p:strVal val="0-#ppt_w/2"/>
                                          </p:val>
                                        </p:tav>
                                        <p:tav tm="100000">
                                          <p:val>
                                            <p:strVal val="#ppt_x"/>
                                          </p:val>
                                        </p:tav>
                                      </p:tavLst>
                                    </p:anim>
                                    <p:anim calcmode="lin" valueType="num">
                                      <p:cBhvr additive="base">
                                        <p:cTn id="33"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 grpId="0"/>
      <p:bldP spid="4" grpId="0"/>
      <p:bldP spid="6" grpId="0"/>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EA99F1-29BE-40DF-8C40-314956317D53}"/>
              </a:ext>
            </a:extLst>
          </p:cNvPr>
          <p:cNvSpPr>
            <a:spLocks noGrp="1"/>
          </p:cNvSpPr>
          <p:nvPr>
            <p:ph type="title"/>
          </p:nvPr>
        </p:nvSpPr>
        <p:spPr>
          <a:xfrm>
            <a:off x="627746" y="471294"/>
            <a:ext cx="10957897" cy="388536"/>
          </a:xfrm>
        </p:spPr>
        <p:txBody>
          <a:bodyPr/>
          <a:lstStyle/>
          <a:p>
            <a:r>
              <a:rPr lang="de-DE" sz="2400" dirty="0">
                <a:latin typeface="Amalia" panose="020B0504020203020204" pitchFamily="34" charset="0"/>
              </a:rPr>
              <a:t>LEISTBARKEIT: ZINSSEITIGER RÜCKENWIND WIRD ZU GEGENWIND</a:t>
            </a:r>
            <a:br>
              <a:rPr lang="de-DE" sz="2400" dirty="0">
                <a:latin typeface="Amalia" panose="020B0504020203020204" pitchFamily="34" charset="0"/>
              </a:rPr>
            </a:br>
            <a:r>
              <a:rPr lang="de-DE" sz="2400" b="0" dirty="0">
                <a:solidFill>
                  <a:schemeClr val="bg1">
                    <a:lumMod val="50000"/>
                  </a:schemeClr>
                </a:solidFill>
                <a:latin typeface="Amalia" panose="020B0504020203020204" pitchFamily="34" charset="0"/>
              </a:rPr>
              <a:t>Günstigere Bundesländer mit „Wettbewerbsvorteil“ gegenüber teuren Pflastern</a:t>
            </a:r>
            <a:endParaRPr lang="de-AT" sz="2400" b="0" dirty="0">
              <a:solidFill>
                <a:schemeClr val="bg1">
                  <a:lumMod val="50000"/>
                </a:schemeClr>
              </a:solidFill>
              <a:latin typeface="Amalia" panose="020B0504020203020204" pitchFamily="34" charset="0"/>
            </a:endParaRPr>
          </a:p>
        </p:txBody>
      </p:sp>
      <p:graphicFrame>
        <p:nvGraphicFramePr>
          <p:cNvPr id="3" name="Diagramm 2">
            <a:extLst>
              <a:ext uri="{FF2B5EF4-FFF2-40B4-BE49-F238E27FC236}">
                <a16:creationId xmlns:a16="http://schemas.microsoft.com/office/drawing/2014/main" id="{9484FF63-0DC9-4CB0-8739-AF7CF70F0C03}"/>
              </a:ext>
            </a:extLst>
          </p:cNvPr>
          <p:cNvGraphicFramePr>
            <a:graphicFrameLocks/>
          </p:cNvGraphicFramePr>
          <p:nvPr>
            <p:extLst>
              <p:ext uri="{D42A27DB-BD31-4B8C-83A1-F6EECF244321}">
                <p14:modId xmlns:p14="http://schemas.microsoft.com/office/powerpoint/2010/main" val="433113879"/>
              </p:ext>
            </p:extLst>
          </p:nvPr>
        </p:nvGraphicFramePr>
        <p:xfrm>
          <a:off x="635000" y="1417638"/>
          <a:ext cx="12492038" cy="5277802"/>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4">
            <a:extLst>
              <a:ext uri="{FF2B5EF4-FFF2-40B4-BE49-F238E27FC236}">
                <a16:creationId xmlns:a16="http://schemas.microsoft.com/office/drawing/2014/main" id="{97FB9178-1BD8-4AC4-9442-D947F8741A7D}"/>
              </a:ext>
            </a:extLst>
          </p:cNvPr>
          <p:cNvSpPr/>
          <p:nvPr/>
        </p:nvSpPr>
        <p:spPr>
          <a:xfrm>
            <a:off x="553752" y="6600349"/>
            <a:ext cx="12314590" cy="400110"/>
          </a:xfrm>
          <a:prstGeom prst="rect">
            <a:avLst/>
          </a:prstGeom>
        </p:spPr>
        <p:txBody>
          <a:bodyPr wrap="none">
            <a:spAutoFit/>
          </a:bodyPr>
          <a:lstStyle/>
          <a:p>
            <a:pPr defTabSz="1008148" eaLnBrk="0" fontAlgn="base" hangingPunct="0">
              <a:spcBef>
                <a:spcPct val="0"/>
              </a:spcBef>
              <a:spcAft>
                <a:spcPct val="0"/>
              </a:spcAft>
            </a:pPr>
            <a:r>
              <a:rPr lang="de-DE" sz="1000" dirty="0">
                <a:solidFill>
                  <a:srgbClr val="808080">
                    <a:alpha val="100000"/>
                  </a:srgbClr>
                </a:solidFill>
                <a:latin typeface="Amalia" panose="020B0504020203020204" pitchFamily="34" charset="0"/>
              </a:rPr>
              <a:t>* Kreditfinanzierter </a:t>
            </a:r>
            <a:r>
              <a:rPr lang="de-AT" sz="1000" dirty="0">
                <a:solidFill>
                  <a:srgbClr val="808080">
                    <a:alpha val="100000"/>
                  </a:srgbClr>
                </a:solidFill>
                <a:latin typeface="Amalia" panose="020B0504020203020204" pitchFamily="34" charset="0"/>
              </a:rPr>
              <a:t>Kauf eines Einfamilienhaus durchschnittlicher Größe bei variabler Kreditfinanzierung (Beleihungsquote 90 %, 30J Laufzeit) in % des Netto-Haushaltseinkommens (Median) der Immobilienbesitzer </a:t>
            </a:r>
            <a:endParaRPr lang="de-DE" sz="1000" dirty="0">
              <a:solidFill>
                <a:srgbClr val="808080">
                  <a:alpha val="100000"/>
                </a:srgbClr>
              </a:solidFill>
              <a:latin typeface="Amalia" panose="020B0504020203020204" pitchFamily="34" charset="0"/>
            </a:endParaRPr>
          </a:p>
          <a:p>
            <a:pPr defTabSz="1008148" eaLnBrk="0" fontAlgn="base" hangingPunct="0">
              <a:spcBef>
                <a:spcPct val="0"/>
              </a:spcBef>
              <a:spcAft>
                <a:spcPct val="0"/>
              </a:spcAft>
            </a:pPr>
            <a:r>
              <a:rPr lang="de-DE" sz="1000" dirty="0">
                <a:solidFill>
                  <a:srgbClr val="808080">
                    <a:alpha val="100000"/>
                  </a:srgbClr>
                </a:solidFill>
                <a:latin typeface="Amalia" panose="020B0504020203020204" pitchFamily="34" charset="0"/>
              </a:rPr>
              <a:t>Quelle: Statistik Austria, RBI/Raiffeisen Research</a:t>
            </a:r>
            <a:endParaRPr lang="en-US" sz="1000" dirty="0">
              <a:solidFill>
                <a:srgbClr val="808080">
                  <a:alpha val="100000"/>
                </a:srgbClr>
              </a:solidFill>
              <a:latin typeface="Amalia" panose="020B0504020203020204" pitchFamily="34" charset="0"/>
            </a:endParaRPr>
          </a:p>
        </p:txBody>
      </p:sp>
    </p:spTree>
    <p:extLst>
      <p:ext uri="{BB962C8B-B14F-4D97-AF65-F5344CB8AC3E}">
        <p14:creationId xmlns:p14="http://schemas.microsoft.com/office/powerpoint/2010/main" val="1220615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0-#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77B1FB-DD16-4AA1-82C9-FB047918F084}"/>
              </a:ext>
            </a:extLst>
          </p:cNvPr>
          <p:cNvSpPr>
            <a:spLocks noGrp="1"/>
          </p:cNvSpPr>
          <p:nvPr>
            <p:ph type="title"/>
          </p:nvPr>
        </p:nvSpPr>
        <p:spPr/>
        <p:txBody>
          <a:bodyPr/>
          <a:lstStyle/>
          <a:p>
            <a:r>
              <a:rPr lang="de-AT" sz="2400" dirty="0">
                <a:latin typeface="Amalia" panose="020B0504020203020204" pitchFamily="34" charset="0"/>
              </a:rPr>
              <a:t>TIROL: JE KNAPPER DER GRUND, DESTO HÖHER DER PREIS</a:t>
            </a:r>
            <a:br>
              <a:rPr lang="de-AT" sz="2400" dirty="0">
                <a:latin typeface="Amalia" panose="020B0504020203020204" pitchFamily="34" charset="0"/>
              </a:rPr>
            </a:br>
            <a:r>
              <a:rPr lang="de-AT" sz="2400" b="0" dirty="0">
                <a:solidFill>
                  <a:schemeClr val="bg1">
                    <a:lumMod val="50000"/>
                  </a:schemeClr>
                </a:solidFill>
                <a:latin typeface="Amalia" panose="020B0504020203020204" pitchFamily="34" charset="0"/>
              </a:rPr>
              <a:t>Bevölkerung: Großes wird schneller </a:t>
            </a:r>
            <a:r>
              <a:rPr lang="de-AT" sz="2400" b="0">
                <a:solidFill>
                  <a:schemeClr val="bg1">
                    <a:lumMod val="50000"/>
                  </a:schemeClr>
                </a:solidFill>
                <a:latin typeface="Amalia" panose="020B0504020203020204" pitchFamily="34" charset="0"/>
              </a:rPr>
              <a:t>noch größer</a:t>
            </a:r>
            <a:endParaRPr lang="de-AT" sz="2400" b="0" dirty="0">
              <a:solidFill>
                <a:schemeClr val="bg1">
                  <a:lumMod val="50000"/>
                </a:schemeClr>
              </a:solidFill>
              <a:latin typeface="Amalia" panose="020B0504020203020204" pitchFamily="34" charset="0"/>
            </a:endParaRPr>
          </a:p>
        </p:txBody>
      </p:sp>
      <p:graphicFrame>
        <p:nvGraphicFramePr>
          <p:cNvPr id="4" name="Diagramm 3">
            <a:extLst>
              <a:ext uri="{FF2B5EF4-FFF2-40B4-BE49-F238E27FC236}">
                <a16:creationId xmlns:a16="http://schemas.microsoft.com/office/drawing/2014/main" id="{392379FF-A9B3-4CA7-8C4D-E95ACFA23784}"/>
              </a:ext>
            </a:extLst>
          </p:cNvPr>
          <p:cNvGraphicFramePr>
            <a:graphicFrameLocks/>
          </p:cNvGraphicFramePr>
          <p:nvPr>
            <p:extLst>
              <p:ext uri="{D42A27DB-BD31-4B8C-83A1-F6EECF244321}">
                <p14:modId xmlns:p14="http://schemas.microsoft.com/office/powerpoint/2010/main" val="2090858184"/>
              </p:ext>
            </p:extLst>
          </p:nvPr>
        </p:nvGraphicFramePr>
        <p:xfrm>
          <a:off x="6721474" y="1417638"/>
          <a:ext cx="6405563" cy="5115241"/>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4">
            <a:extLst>
              <a:ext uri="{FF2B5EF4-FFF2-40B4-BE49-F238E27FC236}">
                <a16:creationId xmlns:a16="http://schemas.microsoft.com/office/drawing/2014/main" id="{D5FD7020-AA8C-43B0-BDD2-F15DF23D4226}"/>
              </a:ext>
            </a:extLst>
          </p:cNvPr>
          <p:cNvSpPr/>
          <p:nvPr/>
        </p:nvSpPr>
        <p:spPr>
          <a:xfrm>
            <a:off x="642903" y="6524219"/>
            <a:ext cx="2945037" cy="400110"/>
          </a:xfrm>
          <a:prstGeom prst="rect">
            <a:avLst/>
          </a:prstGeom>
        </p:spPr>
        <p:txBody>
          <a:bodyPr wrap="none">
            <a:spAutoFit/>
          </a:bodyPr>
          <a:lstStyle/>
          <a:p>
            <a:pPr defTabSz="1008148" eaLnBrk="0" fontAlgn="base" hangingPunct="0">
              <a:spcBef>
                <a:spcPct val="0"/>
              </a:spcBef>
              <a:spcAft>
                <a:spcPct val="0"/>
              </a:spcAft>
            </a:pPr>
            <a:r>
              <a:rPr lang="de-DE" sz="1000" dirty="0">
                <a:solidFill>
                  <a:srgbClr val="808080">
                    <a:alpha val="100000"/>
                  </a:srgbClr>
                </a:solidFill>
                <a:latin typeface="Amalia" panose="020B0504020203020204" pitchFamily="34" charset="0"/>
              </a:rPr>
              <a:t>* Prognose Statistik Austria</a:t>
            </a:r>
          </a:p>
          <a:p>
            <a:pPr defTabSz="1008148" eaLnBrk="0" fontAlgn="base" hangingPunct="0">
              <a:spcBef>
                <a:spcPct val="0"/>
              </a:spcBef>
              <a:spcAft>
                <a:spcPct val="0"/>
              </a:spcAft>
            </a:pPr>
            <a:r>
              <a:rPr lang="de-DE" sz="1000" dirty="0">
                <a:solidFill>
                  <a:srgbClr val="808080">
                    <a:alpha val="100000"/>
                  </a:srgbClr>
                </a:solidFill>
                <a:latin typeface="Amalia" panose="020B0504020203020204" pitchFamily="34" charset="0"/>
              </a:rPr>
              <a:t>Quelle: Statistik Austria, RBI/Raiffeisen Research</a:t>
            </a:r>
            <a:endParaRPr lang="en-US" sz="1000" dirty="0">
              <a:solidFill>
                <a:srgbClr val="808080">
                  <a:alpha val="100000"/>
                </a:srgbClr>
              </a:solidFill>
              <a:latin typeface="Amalia" panose="020B0504020203020204" pitchFamily="34" charset="0"/>
            </a:endParaRPr>
          </a:p>
        </p:txBody>
      </p:sp>
      <p:sp>
        <p:nvSpPr>
          <p:cNvPr id="7" name="Rectangle 4">
            <a:extLst>
              <a:ext uri="{FF2B5EF4-FFF2-40B4-BE49-F238E27FC236}">
                <a16:creationId xmlns:a16="http://schemas.microsoft.com/office/drawing/2014/main" id="{4D4BCF6C-4D53-42ED-8ABD-70EE191839F0}"/>
              </a:ext>
            </a:extLst>
          </p:cNvPr>
          <p:cNvSpPr/>
          <p:nvPr/>
        </p:nvSpPr>
        <p:spPr>
          <a:xfrm>
            <a:off x="6670040" y="6515188"/>
            <a:ext cx="3453189" cy="400110"/>
          </a:xfrm>
          <a:prstGeom prst="rect">
            <a:avLst/>
          </a:prstGeom>
        </p:spPr>
        <p:txBody>
          <a:bodyPr wrap="none">
            <a:spAutoFit/>
          </a:bodyPr>
          <a:lstStyle/>
          <a:p>
            <a:pPr defTabSz="1008148" eaLnBrk="0" fontAlgn="base" hangingPunct="0">
              <a:spcBef>
                <a:spcPct val="0"/>
              </a:spcBef>
              <a:spcAft>
                <a:spcPct val="0"/>
              </a:spcAft>
            </a:pPr>
            <a:r>
              <a:rPr lang="de-AT" sz="1000" dirty="0">
                <a:solidFill>
                  <a:srgbClr val="808080">
                    <a:alpha val="100000"/>
                  </a:srgbClr>
                </a:solidFill>
                <a:latin typeface="Amalia" panose="020B0504020203020204" pitchFamily="34" charset="0"/>
              </a:rPr>
              <a:t>* Baulandreserven in % der gesamten bebaubaren Fläche</a:t>
            </a:r>
          </a:p>
          <a:p>
            <a:pPr defTabSz="1008148" eaLnBrk="0" fontAlgn="base" hangingPunct="0">
              <a:spcBef>
                <a:spcPct val="0"/>
              </a:spcBef>
              <a:spcAft>
                <a:spcPct val="0"/>
              </a:spcAft>
            </a:pPr>
            <a:r>
              <a:rPr lang="de-DE" sz="1000" dirty="0">
                <a:solidFill>
                  <a:srgbClr val="808080">
                    <a:alpha val="100000"/>
                  </a:srgbClr>
                </a:solidFill>
                <a:latin typeface="Amalia" panose="020B0504020203020204" pitchFamily="34" charset="0"/>
              </a:rPr>
              <a:t>Quelle: ÖROK, Statistik Austria, RBI/Raiffeisen Research</a:t>
            </a:r>
            <a:endParaRPr lang="en-US" sz="1000" dirty="0">
              <a:solidFill>
                <a:srgbClr val="808080">
                  <a:alpha val="100000"/>
                </a:srgbClr>
              </a:solidFill>
              <a:latin typeface="Amalia" panose="020B0504020203020204" pitchFamily="34" charset="0"/>
            </a:endParaRPr>
          </a:p>
        </p:txBody>
      </p:sp>
      <p:graphicFrame>
        <p:nvGraphicFramePr>
          <p:cNvPr id="8" name="Diagramm 7">
            <a:extLst>
              <a:ext uri="{FF2B5EF4-FFF2-40B4-BE49-F238E27FC236}">
                <a16:creationId xmlns:a16="http://schemas.microsoft.com/office/drawing/2014/main" id="{00000000-0008-0000-0100-000013000000}"/>
              </a:ext>
            </a:extLst>
          </p:cNvPr>
          <p:cNvGraphicFramePr>
            <a:graphicFrameLocks/>
          </p:cNvGraphicFramePr>
          <p:nvPr>
            <p:extLst>
              <p:ext uri="{D42A27DB-BD31-4B8C-83A1-F6EECF244321}">
                <p14:modId xmlns:p14="http://schemas.microsoft.com/office/powerpoint/2010/main" val="2970588638"/>
              </p:ext>
            </p:extLst>
          </p:nvPr>
        </p:nvGraphicFramePr>
        <p:xfrm>
          <a:off x="634999" y="1417638"/>
          <a:ext cx="6086475" cy="51073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73888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0-#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fill="hold"/>
                                        <p:tgtEl>
                                          <p:spTgt spid="8"/>
                                        </p:tgtEl>
                                        <p:attrNameLst>
                                          <p:attrName>ppt_x</p:attrName>
                                        </p:attrNameLst>
                                      </p:cBhvr>
                                      <p:tavLst>
                                        <p:tav tm="0">
                                          <p:val>
                                            <p:strVal val="0-#ppt_w/2"/>
                                          </p:val>
                                        </p:tav>
                                        <p:tav tm="100000">
                                          <p:val>
                                            <p:strVal val="#ppt_x"/>
                                          </p:val>
                                        </p:tav>
                                      </p:tavLst>
                                    </p:anim>
                                    <p:anim calcmode="lin" valueType="num">
                                      <p:cBhvr additive="base">
                                        <p:cTn id="23"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6" grpId="0"/>
      <p:bldP spid="7" grpId="0"/>
      <p:bldGraphic spid="8" grpId="0">
        <p:bldAsOne/>
      </p:bldGraphic>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4CB7EB-D8E6-4D1F-8D20-6D386C1A6BFF}"/>
              </a:ext>
            </a:extLst>
          </p:cNvPr>
          <p:cNvSpPr>
            <a:spLocks noGrp="1"/>
          </p:cNvSpPr>
          <p:nvPr>
            <p:ph type="title"/>
          </p:nvPr>
        </p:nvSpPr>
        <p:spPr/>
        <p:txBody>
          <a:bodyPr/>
          <a:lstStyle/>
          <a:p>
            <a:r>
              <a:rPr lang="de-DE" sz="2400" dirty="0"/>
              <a:t>AUSBLICK 2023 </a:t>
            </a:r>
            <a:br>
              <a:rPr lang="de-DE" dirty="0"/>
            </a:br>
            <a:r>
              <a:rPr lang="de-DE" sz="2400" b="0" dirty="0">
                <a:solidFill>
                  <a:schemeClr val="bg1">
                    <a:lumMod val="50000"/>
                  </a:schemeClr>
                </a:solidFill>
              </a:rPr>
              <a:t>Es wird heller</a:t>
            </a:r>
          </a:p>
        </p:txBody>
      </p:sp>
      <p:sp>
        <p:nvSpPr>
          <p:cNvPr id="3" name="Inhaltsplatzhalter 2">
            <a:extLst>
              <a:ext uri="{FF2B5EF4-FFF2-40B4-BE49-F238E27FC236}">
                <a16:creationId xmlns:a16="http://schemas.microsoft.com/office/drawing/2014/main" id="{FD1BF51E-B01A-482C-994D-968342C92D68}"/>
              </a:ext>
            </a:extLst>
          </p:cNvPr>
          <p:cNvSpPr>
            <a:spLocks noGrp="1"/>
          </p:cNvSpPr>
          <p:nvPr>
            <p:ph sz="quarter" idx="23"/>
          </p:nvPr>
        </p:nvSpPr>
        <p:spPr/>
        <p:txBody>
          <a:bodyPr/>
          <a:lstStyle/>
          <a:p>
            <a:endParaRPr lang="de-DE" dirty="0"/>
          </a:p>
        </p:txBody>
      </p:sp>
      <p:sp>
        <p:nvSpPr>
          <p:cNvPr id="4" name="Inhaltsplatzhalter 3">
            <a:extLst>
              <a:ext uri="{FF2B5EF4-FFF2-40B4-BE49-F238E27FC236}">
                <a16:creationId xmlns:a16="http://schemas.microsoft.com/office/drawing/2014/main" id="{98BBA8DF-7772-41C4-BC8F-6BE3A91DC736}"/>
              </a:ext>
            </a:extLst>
          </p:cNvPr>
          <p:cNvSpPr>
            <a:spLocks noGrp="1"/>
          </p:cNvSpPr>
          <p:nvPr>
            <p:ph sz="quarter" idx="24"/>
          </p:nvPr>
        </p:nvSpPr>
        <p:spPr/>
        <p:txBody>
          <a:bodyPr/>
          <a:lstStyle/>
          <a:p>
            <a:endParaRPr lang="de-DE" dirty="0"/>
          </a:p>
        </p:txBody>
      </p:sp>
      <p:pic>
        <p:nvPicPr>
          <p:cNvPr id="5" name="Grafik 4" descr="Ein Bild, das draußen, Berg, Sonnenuntergang, Natur enthält.&#10;&#10;Automatisch generierte Beschreibung">
            <a:extLst>
              <a:ext uri="{FF2B5EF4-FFF2-40B4-BE49-F238E27FC236}">
                <a16:creationId xmlns:a16="http://schemas.microsoft.com/office/drawing/2014/main" id="{CBF2C721-3DF2-4AAA-B75C-008D35E1A9C4}"/>
              </a:ext>
            </a:extLst>
          </p:cNvPr>
          <p:cNvPicPr>
            <a:picLocks noChangeAspect="1"/>
          </p:cNvPicPr>
          <p:nvPr/>
        </p:nvPicPr>
        <p:blipFill>
          <a:blip r:embed="rId2"/>
          <a:stretch>
            <a:fillRect/>
          </a:stretch>
        </p:blipFill>
        <p:spPr>
          <a:xfrm>
            <a:off x="2353952" y="1140178"/>
            <a:ext cx="8735046" cy="5858933"/>
          </a:xfrm>
          <a:prstGeom prst="rect">
            <a:avLst/>
          </a:prstGeom>
        </p:spPr>
      </p:pic>
    </p:spTree>
    <p:extLst>
      <p:ext uri="{BB962C8B-B14F-4D97-AF65-F5344CB8AC3E}">
        <p14:creationId xmlns:p14="http://schemas.microsoft.com/office/powerpoint/2010/main" val="2885463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F045D56E-CFA1-4FD4-8A2A-9F8BC9508BF4}"/>
              </a:ext>
            </a:extLst>
          </p:cNvPr>
          <p:cNvSpPr>
            <a:spLocks noGrp="1"/>
          </p:cNvSpPr>
          <p:nvPr>
            <p:ph type="title"/>
          </p:nvPr>
        </p:nvSpPr>
        <p:spPr/>
        <p:txBody>
          <a:bodyPr/>
          <a:lstStyle/>
          <a:p>
            <a:endParaRPr lang="de-AT"/>
          </a:p>
        </p:txBody>
      </p:sp>
      <p:sp>
        <p:nvSpPr>
          <p:cNvPr id="10" name="Textplatzhalter 9">
            <a:extLst>
              <a:ext uri="{FF2B5EF4-FFF2-40B4-BE49-F238E27FC236}">
                <a16:creationId xmlns:a16="http://schemas.microsoft.com/office/drawing/2014/main" id="{AF1A72CA-9C11-4AE3-A8E3-8338231E21D8}"/>
              </a:ext>
            </a:extLst>
          </p:cNvPr>
          <p:cNvSpPr>
            <a:spLocks noGrp="1"/>
          </p:cNvSpPr>
          <p:nvPr>
            <p:ph type="body" sz="quarter" idx="4294967295"/>
          </p:nvPr>
        </p:nvSpPr>
        <p:spPr>
          <a:xfrm>
            <a:off x="634629" y="1142890"/>
            <a:ext cx="12490011" cy="7003096"/>
          </a:xfrm>
        </p:spPr>
        <p:txBody>
          <a:bodyPr/>
          <a:lstStyle/>
          <a:p>
            <a:r>
              <a:rPr lang="de-AT" sz="1760" b="0"/>
              <a:t>Diese Präsentation dient zu Informationszwecken. </a:t>
            </a:r>
          </a:p>
          <a:p>
            <a:endParaRPr lang="de-AT" sz="1760" b="0"/>
          </a:p>
          <a:p>
            <a:r>
              <a:rPr lang="de-AT" sz="1760" b="0"/>
              <a:t>Die Präsentation ist weder ein öffentliches Angebot noch eine Einladung zur Angebotsstellung im Sinne des KMG, des </a:t>
            </a:r>
            <a:r>
              <a:rPr lang="de-AT" sz="1760" b="0" err="1"/>
              <a:t>Börsegesetzes</a:t>
            </a:r>
            <a:r>
              <a:rPr lang="de-AT" sz="1760" b="0"/>
              <a:t> oder eines vergleichbaren ausländischen Gesetzes. Eine Anlageentscheidung hinsichtlich eines solchen Finanzproduktes hat auf der Grundlage eines genehmigten und veröffentlichten Prospektes zu erfolgen und nicht auf der Grundlage dieser Präsentation. </a:t>
            </a:r>
          </a:p>
          <a:p>
            <a:endParaRPr lang="de-AT" sz="1760" b="0"/>
          </a:p>
          <a:p>
            <a:r>
              <a:rPr lang="de-AT" sz="1760" b="0"/>
              <a:t>Diese Präsentation ist keine persönliche Empfehlung / Anlageberatung zum Kauf oder Verkauf von Finanzinstrumenten im Sinne des Wertpapieraufsichtsgesetzes. Die Präsentation stellt keine Grundlage irgendeines Vertrages oder einer Verpflichtung dar. </a:t>
            </a:r>
          </a:p>
          <a:p>
            <a:endParaRPr lang="de-AT" sz="1760" b="0"/>
          </a:p>
          <a:p>
            <a:r>
              <a:rPr lang="de-AT" sz="1760" b="0"/>
              <a:t>Die Präsentation stellt keinen Ersatz für die erforderliche Beratung für den Kauf oder Verkauf eines Finanzproduktes dar. Eine individuelle anleger- und anlagegerechte Beratung kann bei Ihrem Bankberater eingeholt werden.</a:t>
            </a:r>
          </a:p>
        </p:txBody>
      </p:sp>
    </p:spTree>
    <p:extLst>
      <p:ext uri="{BB962C8B-B14F-4D97-AF65-F5344CB8AC3E}">
        <p14:creationId xmlns:p14="http://schemas.microsoft.com/office/powerpoint/2010/main" val="25871374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0F672D-DD44-4578-AB84-6EAFC461A417}"/>
              </a:ext>
            </a:extLst>
          </p:cNvPr>
          <p:cNvSpPr>
            <a:spLocks noGrp="1"/>
          </p:cNvSpPr>
          <p:nvPr>
            <p:ph type="title"/>
          </p:nvPr>
        </p:nvSpPr>
        <p:spPr/>
        <p:txBody>
          <a:bodyPr/>
          <a:lstStyle/>
          <a:p>
            <a:r>
              <a:rPr lang="de-DE" sz="2400" dirty="0"/>
              <a:t>AUSBLICK 2023</a:t>
            </a:r>
            <a:br>
              <a:rPr lang="de-DE" sz="2400" b="0" dirty="0">
                <a:solidFill>
                  <a:schemeClr val="bg1">
                    <a:lumMod val="50000"/>
                  </a:schemeClr>
                </a:solidFill>
              </a:rPr>
            </a:br>
            <a:r>
              <a:rPr lang="de-DE" sz="2400" b="0" dirty="0">
                <a:solidFill>
                  <a:schemeClr val="bg1">
                    <a:lumMod val="50000"/>
                  </a:schemeClr>
                </a:solidFill>
              </a:rPr>
              <a:t>Trendwende in Konjunktur, Inflation und Immobilienmärkten</a:t>
            </a:r>
          </a:p>
        </p:txBody>
      </p:sp>
      <p:sp>
        <p:nvSpPr>
          <p:cNvPr id="5" name="Textfeld 4">
            <a:extLst>
              <a:ext uri="{FF2B5EF4-FFF2-40B4-BE49-F238E27FC236}">
                <a16:creationId xmlns:a16="http://schemas.microsoft.com/office/drawing/2014/main" id="{6882511A-47B9-481A-98F3-5F23C08B247E}"/>
              </a:ext>
            </a:extLst>
          </p:cNvPr>
          <p:cNvSpPr txBox="1"/>
          <p:nvPr/>
        </p:nvSpPr>
        <p:spPr bwMode="gray">
          <a:xfrm>
            <a:off x="1754960" y="1447620"/>
            <a:ext cx="10492826" cy="4801314"/>
          </a:xfrm>
          <a:prstGeom prst="rect">
            <a:avLst/>
          </a:prstGeom>
          <a:noFill/>
        </p:spPr>
        <p:txBody>
          <a:bodyPr wrap="square" lIns="0" tIns="0" rIns="0" bIns="0" rtlCol="0" anchor="t">
            <a:spAutoFit/>
          </a:bodyPr>
          <a:lstStyle/>
          <a:p>
            <a:pPr algn="ctr"/>
            <a:r>
              <a:rPr lang="de-DE" sz="2600" b="1" dirty="0">
                <a:highlight>
                  <a:srgbClr val="FFFF00"/>
                </a:highlight>
                <a:latin typeface="Amalia"/>
              </a:rPr>
              <a:t>ZUSAMMENFASSUNG</a:t>
            </a:r>
          </a:p>
          <a:p>
            <a:pPr algn="ctr"/>
            <a:endParaRPr lang="de-DE" sz="2600" b="1" dirty="0">
              <a:highlight>
                <a:srgbClr val="FFFF00"/>
              </a:highlight>
              <a:latin typeface="Amalia"/>
            </a:endParaRPr>
          </a:p>
          <a:p>
            <a:r>
              <a:rPr lang="de-DE" sz="2600" b="1" dirty="0">
                <a:highlight>
                  <a:srgbClr val="FFFF00"/>
                </a:highlight>
                <a:latin typeface="Amalia"/>
              </a:rPr>
              <a:t>Milde Rezession mündet in moderaten Aufschwung</a:t>
            </a:r>
            <a:endParaRPr lang="de-DE" sz="2600" dirty="0">
              <a:highlight>
                <a:srgbClr val="FFFF00"/>
              </a:highlight>
            </a:endParaRPr>
          </a:p>
          <a:p>
            <a:endParaRPr lang="de-DE" sz="2600" b="1" dirty="0">
              <a:highlight>
                <a:srgbClr val="FFFF00"/>
              </a:highlight>
              <a:latin typeface="Amalia" panose="020B0504020203020204" pitchFamily="34" charset="0"/>
            </a:endParaRPr>
          </a:p>
          <a:p>
            <a:r>
              <a:rPr lang="de-DE" sz="2600" b="1" dirty="0">
                <a:highlight>
                  <a:srgbClr val="FFFF00"/>
                </a:highlight>
                <a:latin typeface="Amalia"/>
              </a:rPr>
              <a:t>Inflationshöhepunkt hinter uns, aber Kernrate bleibt hoch</a:t>
            </a:r>
            <a:endParaRPr lang="de-DE" sz="2600" b="1" dirty="0">
              <a:highlight>
                <a:srgbClr val="FFFF00"/>
              </a:highlight>
              <a:latin typeface="Amalia" panose="020B0504020203020204" pitchFamily="34" charset="0"/>
            </a:endParaRPr>
          </a:p>
          <a:p>
            <a:endParaRPr lang="de-DE" sz="2600" b="1" dirty="0">
              <a:highlight>
                <a:srgbClr val="FFFF00"/>
              </a:highlight>
              <a:latin typeface="Amalia"/>
            </a:endParaRPr>
          </a:p>
          <a:p>
            <a:r>
              <a:rPr lang="de-DE" sz="2600" b="1" dirty="0">
                <a:highlight>
                  <a:srgbClr val="FFFF00"/>
                </a:highlight>
                <a:latin typeface="Amalia"/>
              </a:rPr>
              <a:t>Weiterer Zinsanstieg, Hypothekarzinsen um 400 BP höher</a:t>
            </a:r>
          </a:p>
          <a:p>
            <a:endParaRPr lang="de-DE" sz="2600" b="1" dirty="0">
              <a:highlight>
                <a:srgbClr val="FFFF00"/>
              </a:highlight>
              <a:latin typeface="Amalia"/>
            </a:endParaRPr>
          </a:p>
          <a:p>
            <a:r>
              <a:rPr lang="de-DE" sz="2600" b="1" dirty="0">
                <a:highlight>
                  <a:srgbClr val="FFFF00"/>
                </a:highlight>
                <a:latin typeface="Amalia"/>
              </a:rPr>
              <a:t>Trendwende bei Immobilien – Preisspreizung nimmt weiter zu</a:t>
            </a:r>
            <a:endParaRPr lang="de-DE" sz="2600" b="1" dirty="0">
              <a:highlight>
                <a:srgbClr val="FFFF00"/>
              </a:highlight>
              <a:latin typeface="Amalia" panose="020B0504020203020204" pitchFamily="34" charset="0"/>
            </a:endParaRPr>
          </a:p>
          <a:p>
            <a:endParaRPr lang="de-DE" sz="2600" b="1" dirty="0">
              <a:highlight>
                <a:srgbClr val="FFFF00"/>
              </a:highlight>
              <a:latin typeface="Amalia"/>
            </a:endParaRPr>
          </a:p>
          <a:p>
            <a:r>
              <a:rPr lang="de-DE" sz="2600" b="1" dirty="0">
                <a:highlight>
                  <a:srgbClr val="FFFF00"/>
                </a:highlight>
                <a:latin typeface="Amalia"/>
              </a:rPr>
              <a:t>Leistbarkeit das große Thema, </a:t>
            </a:r>
            <a:r>
              <a:rPr lang="de-DE" sz="2600" b="1" dirty="0" err="1">
                <a:highlight>
                  <a:srgbClr val="FFFF00"/>
                </a:highlight>
                <a:latin typeface="Amalia"/>
              </a:rPr>
              <a:t>Baukosten&amp;Demografie</a:t>
            </a:r>
            <a:r>
              <a:rPr lang="de-DE" sz="2600" b="1" dirty="0">
                <a:highlight>
                  <a:srgbClr val="FFFF00"/>
                </a:highlight>
                <a:latin typeface="Amalia"/>
              </a:rPr>
              <a:t> dämpfen </a:t>
            </a:r>
            <a:endParaRPr lang="de-DE" sz="2600" dirty="0">
              <a:highlight>
                <a:srgbClr val="FFFF00"/>
              </a:highlight>
            </a:endParaRPr>
          </a:p>
          <a:p>
            <a:endParaRPr lang="de-DE" sz="2600" b="1" dirty="0">
              <a:highlight>
                <a:srgbClr val="FFFF00"/>
              </a:highlight>
              <a:latin typeface="Amalia" panose="020B0504020203020204" pitchFamily="34" charset="0"/>
            </a:endParaRPr>
          </a:p>
        </p:txBody>
      </p:sp>
    </p:spTree>
    <p:extLst>
      <p:ext uri="{BB962C8B-B14F-4D97-AF65-F5344CB8AC3E}">
        <p14:creationId xmlns:p14="http://schemas.microsoft.com/office/powerpoint/2010/main" val="2937100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E52C1B-FF5E-43A8-963A-549A6B1B1F3E}"/>
              </a:ext>
            </a:extLst>
          </p:cNvPr>
          <p:cNvSpPr>
            <a:spLocks noGrp="1"/>
          </p:cNvSpPr>
          <p:nvPr>
            <p:ph type="title"/>
          </p:nvPr>
        </p:nvSpPr>
        <p:spPr/>
        <p:txBody>
          <a:bodyPr/>
          <a:lstStyle/>
          <a:p>
            <a:r>
              <a:rPr lang="de-DE" sz="2400"/>
              <a:t>INFLATION: NEUE PERIODE</a:t>
            </a:r>
            <a:br>
              <a:rPr lang="de-DE" sz="2400"/>
            </a:br>
            <a:r>
              <a:rPr lang="de-DE" sz="2400" b="0">
                <a:solidFill>
                  <a:schemeClr val="bg1">
                    <a:lumMod val="50000"/>
                  </a:schemeClr>
                </a:solidFill>
              </a:rPr>
              <a:t>durch strukturelle Änderungen führt zu höherem Inflationspotenzial</a:t>
            </a:r>
          </a:p>
        </p:txBody>
      </p:sp>
      <p:sp>
        <p:nvSpPr>
          <p:cNvPr id="3" name="Inhaltsplatzhalter 2">
            <a:extLst>
              <a:ext uri="{FF2B5EF4-FFF2-40B4-BE49-F238E27FC236}">
                <a16:creationId xmlns:a16="http://schemas.microsoft.com/office/drawing/2014/main" id="{FD3A9F72-28D0-4AAB-A337-7ED77199752E}"/>
              </a:ext>
            </a:extLst>
          </p:cNvPr>
          <p:cNvSpPr>
            <a:spLocks noGrp="1"/>
          </p:cNvSpPr>
          <p:nvPr>
            <p:ph sz="quarter" idx="10"/>
          </p:nvPr>
        </p:nvSpPr>
        <p:spPr>
          <a:xfrm>
            <a:off x="634629" y="1378728"/>
            <a:ext cx="12493003" cy="5500687"/>
          </a:xfrm>
        </p:spPr>
        <p:txBody>
          <a:bodyPr/>
          <a:lstStyle/>
          <a:p>
            <a:endParaRPr lang="de-DE"/>
          </a:p>
          <a:p>
            <a:r>
              <a:rPr lang="de-DE" sz="3200"/>
              <a:t>KLIMASCHUTZ: </a:t>
            </a:r>
            <a:r>
              <a:rPr lang="de-DE" sz="3200" b="0"/>
              <a:t>Verteuerung von fossiler Energie</a:t>
            </a:r>
          </a:p>
          <a:p>
            <a:r>
              <a:rPr lang="de-DE" sz="3200"/>
              <a:t>ESG: </a:t>
            </a:r>
            <a:r>
              <a:rPr lang="de-DE" sz="3200" b="0"/>
              <a:t>Menschenrechte, Lieferketten</a:t>
            </a:r>
          </a:p>
          <a:p>
            <a:r>
              <a:rPr lang="de-DE" sz="3200"/>
              <a:t>GLOBALISIERUNG: </a:t>
            </a:r>
            <a:r>
              <a:rPr lang="de-DE" sz="3200" b="0"/>
              <a:t>Flexibilisierung von Wertschöpfungsketten</a:t>
            </a:r>
          </a:p>
          <a:p>
            <a:r>
              <a:rPr lang="de-DE" sz="3200"/>
              <a:t>DEMOGRAFIE: </a:t>
            </a:r>
            <a:r>
              <a:rPr lang="de-DE" sz="3200" b="0"/>
              <a:t>Abnahme arbeitsfähiger Bevölkerung</a:t>
            </a:r>
          </a:p>
          <a:p>
            <a:r>
              <a:rPr lang="de-DE" sz="3200"/>
              <a:t>MONETÄRE&amp;FISKALISCHE EXPANSION: </a:t>
            </a:r>
            <a:r>
              <a:rPr lang="de-DE" sz="3200" b="0"/>
              <a:t>Hohe Geldvermehrung</a:t>
            </a:r>
          </a:p>
        </p:txBody>
      </p:sp>
    </p:spTree>
    <p:extLst>
      <p:ext uri="{BB962C8B-B14F-4D97-AF65-F5344CB8AC3E}">
        <p14:creationId xmlns:p14="http://schemas.microsoft.com/office/powerpoint/2010/main" val="2384077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EC98A-58F4-4827-8794-684FE76DCE49}"/>
              </a:ext>
            </a:extLst>
          </p:cNvPr>
          <p:cNvSpPr>
            <a:spLocks noGrp="1"/>
          </p:cNvSpPr>
          <p:nvPr>
            <p:ph type="title"/>
          </p:nvPr>
        </p:nvSpPr>
        <p:spPr/>
        <p:txBody>
          <a:bodyPr/>
          <a:lstStyle/>
          <a:p>
            <a:r>
              <a:rPr lang="de-DE" sz="2400"/>
              <a:t>STROMPREIS IN EUROPA</a:t>
            </a:r>
            <a:br>
              <a:rPr lang="de-DE" sz="2400"/>
            </a:br>
            <a:r>
              <a:rPr lang="de-DE" sz="2400" b="0">
                <a:solidFill>
                  <a:schemeClr val="bg1">
                    <a:lumMod val="50000"/>
                  </a:schemeClr>
                </a:solidFill>
              </a:rPr>
              <a:t>Noch deutlich über Anfang 2022</a:t>
            </a:r>
            <a:endParaRPr lang="de-AT" sz="2400" b="0">
              <a:solidFill>
                <a:schemeClr val="bg1">
                  <a:lumMod val="50000"/>
                </a:schemeClr>
              </a:solidFill>
            </a:endParaRPr>
          </a:p>
        </p:txBody>
      </p:sp>
      <p:pic>
        <p:nvPicPr>
          <p:cNvPr id="5" name="Content Placeholder 4">
            <a:extLst>
              <a:ext uri="{FF2B5EF4-FFF2-40B4-BE49-F238E27FC236}">
                <a16:creationId xmlns:a16="http://schemas.microsoft.com/office/drawing/2014/main" id="{9A738520-AEC1-4653-993E-D1CA8DEBF668}"/>
              </a:ext>
            </a:extLst>
          </p:cNvPr>
          <p:cNvPicPr>
            <a:picLocks noGrp="1" noChangeAspect="1"/>
          </p:cNvPicPr>
          <p:nvPr>
            <p:ph sz="quarter" idx="10"/>
          </p:nvPr>
        </p:nvPicPr>
        <p:blipFill>
          <a:blip r:embed="rId2"/>
          <a:stretch>
            <a:fillRect/>
          </a:stretch>
        </p:blipFill>
        <p:spPr>
          <a:xfrm>
            <a:off x="1618691" y="1238087"/>
            <a:ext cx="10546210" cy="5398239"/>
          </a:xfrm>
        </p:spPr>
      </p:pic>
      <p:sp>
        <p:nvSpPr>
          <p:cNvPr id="6" name="TextBox 5">
            <a:extLst>
              <a:ext uri="{FF2B5EF4-FFF2-40B4-BE49-F238E27FC236}">
                <a16:creationId xmlns:a16="http://schemas.microsoft.com/office/drawing/2014/main" id="{A695E100-5E4C-4AE0-AAA9-64E4A4AD92FB}"/>
              </a:ext>
            </a:extLst>
          </p:cNvPr>
          <p:cNvSpPr txBox="1"/>
          <p:nvPr/>
        </p:nvSpPr>
        <p:spPr bwMode="gray">
          <a:xfrm>
            <a:off x="1618690" y="6720637"/>
            <a:ext cx="6723528" cy="246221"/>
          </a:xfrm>
          <a:prstGeom prst="rect">
            <a:avLst/>
          </a:prstGeom>
          <a:noFill/>
        </p:spPr>
        <p:txBody>
          <a:bodyPr wrap="square">
            <a:spAutoFit/>
          </a:bodyPr>
          <a:lstStyle/>
          <a:p>
            <a:pPr marL="0">
              <a:spcBef>
                <a:spcPts val="0"/>
              </a:spcBef>
              <a:buNone/>
            </a:pPr>
            <a:r>
              <a:rPr lang="en-US" sz="1000">
                <a:solidFill>
                  <a:srgbClr val="696969"/>
                </a:solidFill>
                <a:latin typeface="Amalia" panose="020B0504020203020204" pitchFamily="34" charset="0"/>
                <a:cs typeface="Century Gothic"/>
              </a:rPr>
              <a:t>Quelle: Refinitiv, RBI/Raiffeisen Research</a:t>
            </a:r>
          </a:p>
        </p:txBody>
      </p:sp>
    </p:spTree>
    <p:extLst>
      <p:ext uri="{BB962C8B-B14F-4D97-AF65-F5344CB8AC3E}">
        <p14:creationId xmlns:p14="http://schemas.microsoft.com/office/powerpoint/2010/main" val="40423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4">
            <a:extLst>
              <a:ext uri="{FF2B5EF4-FFF2-40B4-BE49-F238E27FC236}">
                <a16:creationId xmlns:a16="http://schemas.microsoft.com/office/drawing/2014/main" id="{462CA383-489E-4C64-874C-4B7C40D75950}"/>
              </a:ext>
            </a:extLst>
          </p:cNvPr>
          <p:cNvSpPr txBox="1">
            <a:spLocks/>
          </p:cNvSpPr>
          <p:nvPr/>
        </p:nvSpPr>
        <p:spPr bwMode="auto">
          <a:xfrm>
            <a:off x="549945" y="1417638"/>
            <a:ext cx="5957559" cy="5061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103879" tIns="51946" rIns="103879" bIns="51946" numCol="1" anchor="t" anchorCtr="0" compatLnSpc="1">
            <a:prstTxWarp prst="textNoShape">
              <a:avLst/>
            </a:prstTxWarp>
          </a:bodyPr>
          <a:lstStyle>
            <a:lvl1pPr marL="338138" indent="-33813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1pPr>
            <a:lvl2pPr marL="739775" indent="-28098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2pPr>
            <a:lvl3pPr marL="223838" indent="-22383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3pPr>
            <a:lvl4pPr marL="442913" indent="-22383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4pPr>
            <a:lvl5pPr marL="709613" indent="-22383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5pPr>
            <a:lvl6pPr marL="1166813" indent="-223838" algn="l" rtl="0" fontAlgn="base">
              <a:spcBef>
                <a:spcPct val="20000"/>
              </a:spcBef>
              <a:spcAft>
                <a:spcPct val="0"/>
              </a:spcAft>
              <a:buClr>
                <a:schemeClr val="tx1"/>
              </a:buClr>
              <a:buFont typeface="Wingdings" charset="2"/>
              <a:buChar char="n"/>
              <a:defRPr sz="1400">
                <a:solidFill>
                  <a:schemeClr val="tx1"/>
                </a:solidFill>
                <a:latin typeface="+mn-lt"/>
                <a:ea typeface="+mn-ea"/>
                <a:cs typeface="+mn-cs"/>
              </a:defRPr>
            </a:lvl6pPr>
            <a:lvl7pPr marL="1624013" indent="-223838" algn="l" rtl="0" fontAlgn="base">
              <a:spcBef>
                <a:spcPct val="20000"/>
              </a:spcBef>
              <a:spcAft>
                <a:spcPct val="0"/>
              </a:spcAft>
              <a:buClr>
                <a:schemeClr val="tx1"/>
              </a:buClr>
              <a:buFont typeface="Wingdings" charset="2"/>
              <a:buChar char="n"/>
              <a:defRPr sz="1400">
                <a:solidFill>
                  <a:schemeClr val="tx1"/>
                </a:solidFill>
                <a:latin typeface="+mn-lt"/>
                <a:ea typeface="+mn-ea"/>
                <a:cs typeface="+mn-cs"/>
              </a:defRPr>
            </a:lvl7pPr>
            <a:lvl8pPr marL="2081213" indent="-223838" algn="l" rtl="0" fontAlgn="base">
              <a:spcBef>
                <a:spcPct val="20000"/>
              </a:spcBef>
              <a:spcAft>
                <a:spcPct val="0"/>
              </a:spcAft>
              <a:buClr>
                <a:schemeClr val="tx1"/>
              </a:buClr>
              <a:buFont typeface="Wingdings" charset="2"/>
              <a:buChar char="n"/>
              <a:defRPr sz="1400">
                <a:solidFill>
                  <a:schemeClr val="tx1"/>
                </a:solidFill>
                <a:latin typeface="+mn-lt"/>
                <a:ea typeface="+mn-ea"/>
                <a:cs typeface="+mn-cs"/>
              </a:defRPr>
            </a:lvl8pPr>
            <a:lvl9pPr marL="2538413" indent="-223838" algn="l" rtl="0" fontAlgn="base">
              <a:spcBef>
                <a:spcPct val="20000"/>
              </a:spcBef>
              <a:spcAft>
                <a:spcPct val="0"/>
              </a:spcAft>
              <a:buClr>
                <a:schemeClr val="tx1"/>
              </a:buClr>
              <a:buFont typeface="Wingdings" charset="2"/>
              <a:buChar char="n"/>
              <a:defRPr sz="1400">
                <a:solidFill>
                  <a:schemeClr val="tx1"/>
                </a:solidFill>
                <a:latin typeface="+mn-lt"/>
                <a:ea typeface="+mn-ea"/>
                <a:cs typeface="+mn-cs"/>
              </a:defRPr>
            </a:lvl9pPr>
          </a:lstStyle>
          <a:p>
            <a:pPr marL="0" indent="0" defTabSz="1077441">
              <a:buNone/>
            </a:pPr>
            <a:r>
              <a:rPr lang="de-DE" sz="1213" b="1">
                <a:solidFill>
                  <a:prstClr val="black"/>
                </a:solidFill>
                <a:latin typeface="Amalia" panose="020B0504020203020204" pitchFamily="34" charset="0"/>
              </a:rPr>
              <a:t>Warnhinweise</a:t>
            </a:r>
            <a:endParaRPr lang="de-AT" sz="1213">
              <a:solidFill>
                <a:prstClr val="black"/>
              </a:solidFill>
              <a:latin typeface="Amalia" panose="020B0504020203020204" pitchFamily="34" charset="0"/>
            </a:endParaRPr>
          </a:p>
          <a:p>
            <a:pPr defTabSz="1077441"/>
            <a:r>
              <a:rPr lang="de-AT" sz="882">
                <a:solidFill>
                  <a:prstClr val="black"/>
                </a:solidFill>
                <a:latin typeface="Amalia" panose="020B0504020203020204" pitchFamily="34" charset="0"/>
              </a:rPr>
              <a:t>Die Zahlenangaben zur Wertentwicklung beziehen sich auf die Vergangenheit. Die vergangene Wertentwicklung ist kein verlässlicher Indikator für künftige Ergebnisse und Entwicklungen eines Finanzinstruments, eines Finanzindexes oder einer Wertpapierdienstleistung. Dies gilt insbesondere, falls das Finanzinstrument, der Finanzindex oder die Wertpapierdienstleistung seit weniger als 12 Monaten angeboten wird. Insbesondere ist dann dieser besonders kurze Vergleichszeitraum kein verlässlicher Indikator für künftige Ergebnisse.</a:t>
            </a:r>
          </a:p>
          <a:p>
            <a:pPr defTabSz="1077441"/>
            <a:endParaRPr lang="de-AT" sz="882">
              <a:solidFill>
                <a:prstClr val="black"/>
              </a:solidFill>
              <a:latin typeface="Amalia" panose="020B0504020203020204" pitchFamily="34" charset="0"/>
            </a:endParaRPr>
          </a:p>
          <a:p>
            <a:pPr marL="179432" indent="-179432" defTabSz="1077441">
              <a:buFont typeface="Wingdings" panose="05000000000000000000" pitchFamily="2" charset="2"/>
              <a:buChar char="§"/>
            </a:pPr>
            <a:r>
              <a:rPr lang="de-AT" sz="882">
                <a:solidFill>
                  <a:prstClr val="black"/>
                </a:solidFill>
                <a:latin typeface="Amalia" panose="020B0504020203020204" pitchFamily="34" charset="0"/>
              </a:rPr>
              <a:t>Die Wertentwicklung eines Finanzinstrumentes, eines Finanzindexes oder einer Wertpapierdienstleistung wird durch Provisionen, Gebühren und andere Entgelte reduziert, die von den individuellen Umständen des Investors abhängen.</a:t>
            </a:r>
          </a:p>
          <a:p>
            <a:pPr marL="179432" indent="-179432" defTabSz="1077441">
              <a:buFont typeface="Wingdings" panose="05000000000000000000" pitchFamily="2" charset="2"/>
              <a:buChar char="§"/>
            </a:pPr>
            <a:r>
              <a:rPr lang="de-AT" sz="882">
                <a:solidFill>
                  <a:prstClr val="black"/>
                </a:solidFill>
                <a:latin typeface="Amalia" panose="020B0504020203020204" pitchFamily="34" charset="0"/>
              </a:rPr>
              <a:t>Infolge von Währungsschwankungen kann das Veranlagungsergebnis eines Finanzinstruments sowie einer Finanz- oder Wertpapierdienstleistung steigen oder fallen.</a:t>
            </a:r>
          </a:p>
          <a:p>
            <a:pPr marL="179432" indent="-179432" defTabSz="1077441">
              <a:buFont typeface="Wingdings" panose="05000000000000000000" pitchFamily="2" charset="2"/>
              <a:buChar char="§"/>
            </a:pPr>
            <a:r>
              <a:rPr lang="de-AT" sz="882">
                <a:solidFill>
                  <a:prstClr val="black"/>
                </a:solidFill>
                <a:latin typeface="Amalia" panose="020B0504020203020204" pitchFamily="34" charset="0"/>
              </a:rPr>
              <a:t>Prognosen zu zukünftigen Entwicklungen beruhen auf reinen Schätzungen und Annahmen. Die tatsächliche zukünftige Entwicklung kann von der Prognose abweichen. Prognosen sind daher kein verlässlicher Indikator für künftige Ergebnisse und Entwicklungen eines Finanzinstruments, eines Finanzindexes oder einer Wertpapierdienstleistung. </a:t>
            </a:r>
          </a:p>
          <a:p>
            <a:pPr marL="0" indent="0" defTabSz="1077441">
              <a:buNone/>
            </a:pPr>
            <a:r>
              <a:rPr lang="de-DE" sz="882">
                <a:solidFill>
                  <a:prstClr val="black"/>
                </a:solidFill>
                <a:latin typeface="Amalia" panose="020B0504020203020204" pitchFamily="34" charset="0"/>
              </a:rPr>
              <a:t> </a:t>
            </a:r>
            <a:endParaRPr lang="de-AT" sz="882">
              <a:solidFill>
                <a:prstClr val="black"/>
              </a:solidFill>
              <a:latin typeface="Amalia" panose="020B0504020203020204" pitchFamily="34" charset="0"/>
            </a:endParaRPr>
          </a:p>
          <a:p>
            <a:pPr defTabSz="1077441"/>
            <a:r>
              <a:rPr lang="de-AT" sz="882" i="1">
                <a:solidFill>
                  <a:prstClr val="black"/>
                </a:solidFill>
                <a:latin typeface="Amalia" panose="020B0504020203020204" pitchFamily="34" charset="0"/>
              </a:rPr>
              <a:t>Die in dieser Publikation allfällig enthaltenen und als solche bezeichneten Informationen/Empfehlungen von Analysten aus Tochterbanken der RBI oder der Raiffeisen </a:t>
            </a:r>
            <a:r>
              <a:rPr lang="de-AT" sz="882" i="1" err="1">
                <a:solidFill>
                  <a:prstClr val="black"/>
                </a:solidFill>
                <a:latin typeface="Amalia" panose="020B0504020203020204" pitchFamily="34" charset="0"/>
              </a:rPr>
              <a:t>Centrobank</a:t>
            </a:r>
            <a:r>
              <a:rPr lang="de-AT" sz="882" i="1">
                <a:solidFill>
                  <a:prstClr val="black"/>
                </a:solidFill>
                <a:latin typeface="Amalia" panose="020B0504020203020204" pitchFamily="34" charset="0"/>
              </a:rPr>
              <a:t> AG („RCB“) werden unter der Verantwortung der RBI unverändert weitergegeben. </a:t>
            </a:r>
          </a:p>
          <a:p>
            <a:pPr defTabSz="1077441"/>
            <a:endParaRPr lang="de-AT" sz="882" i="1">
              <a:solidFill>
                <a:prstClr val="black"/>
              </a:solidFill>
              <a:latin typeface="Amalia" panose="020B0504020203020204" pitchFamily="34" charset="0"/>
            </a:endParaRPr>
          </a:p>
          <a:p>
            <a:pPr defTabSz="1077441"/>
            <a:r>
              <a:rPr lang="de-AT" sz="882" i="1">
                <a:solidFill>
                  <a:prstClr val="black"/>
                </a:solidFill>
                <a:latin typeface="Amalia" panose="020B0504020203020204" pitchFamily="34" charset="0"/>
              </a:rPr>
              <a:t>Eine Darstellung der Konzepte und Methoden, die bei der Erstellung von Finanzanalysen angewendet werden, ist verfügbar unter: </a:t>
            </a:r>
            <a:r>
              <a:rPr lang="de-AT" sz="882" i="1">
                <a:solidFill>
                  <a:schemeClr val="accent6">
                    <a:lumMod val="75000"/>
                  </a:schemeClr>
                </a:solidFill>
                <a:latin typeface="Amalia" panose="020B0504020203020204" pitchFamily="34" charset="0"/>
                <a:hlinkClick r:id="rId2"/>
              </a:rPr>
              <a:t>www.raiffeisenresearch.com/concept_and_methods</a:t>
            </a:r>
            <a:endParaRPr lang="de-AT" sz="882" i="1">
              <a:solidFill>
                <a:schemeClr val="accent6">
                  <a:lumMod val="75000"/>
                </a:schemeClr>
              </a:solidFill>
              <a:latin typeface="Amalia" panose="020B0504020203020204" pitchFamily="34" charset="0"/>
            </a:endParaRPr>
          </a:p>
          <a:p>
            <a:pPr defTabSz="1077441"/>
            <a:endParaRPr lang="de-AT" sz="882" i="1">
              <a:solidFill>
                <a:prstClr val="black"/>
              </a:solidFill>
              <a:latin typeface="Amalia" panose="020B0504020203020204" pitchFamily="34" charset="0"/>
            </a:endParaRPr>
          </a:p>
          <a:p>
            <a:pPr defTabSz="1077441"/>
            <a:r>
              <a:rPr lang="de-AT" sz="882" i="1">
                <a:solidFill>
                  <a:prstClr val="black"/>
                </a:solidFill>
                <a:latin typeface="Amalia" panose="020B0504020203020204" pitchFamily="34" charset="0"/>
              </a:rPr>
              <a:t>Detaillierte Information zur Sensitivitätsanalyse (Verfahren zur Prüfung der Stabilität der in Zusammenhang mit Finanzanalysen unter Umständen getätigten Annahmen) sind unter folgendem Link zu finden: </a:t>
            </a:r>
            <a:r>
              <a:rPr lang="de-AT" sz="882" i="1">
                <a:solidFill>
                  <a:schemeClr val="accent6">
                    <a:lumMod val="75000"/>
                  </a:schemeClr>
                </a:solidFill>
                <a:latin typeface="Amalia" panose="020B0504020203020204" pitchFamily="34" charset="0"/>
                <a:hlinkClick r:id="rId3"/>
              </a:rPr>
              <a:t>www.raiffeisenresearch.com/sensitivity_analysis</a:t>
            </a:r>
            <a:endParaRPr lang="de-AT" sz="882" i="1">
              <a:solidFill>
                <a:schemeClr val="accent6">
                  <a:lumMod val="75000"/>
                </a:schemeClr>
              </a:solidFill>
              <a:latin typeface="Amalia" panose="020B0504020203020204" pitchFamily="34" charset="0"/>
            </a:endParaRPr>
          </a:p>
          <a:p>
            <a:pPr defTabSz="1077441"/>
            <a:endParaRPr lang="de-AT" sz="882" i="1">
              <a:latin typeface="Amalia" panose="020B0504020203020204" pitchFamily="34" charset="0"/>
            </a:endParaRPr>
          </a:p>
          <a:p>
            <a:pPr defTabSz="1077441"/>
            <a:r>
              <a:rPr lang="de-AT" sz="882" i="1">
                <a:latin typeface="Amalia" panose="020B0504020203020204" pitchFamily="34" charset="0"/>
              </a:rPr>
              <a:t>Offenlegung von Umständen und Interessen, die die Objektivität der RBI gefährden könnten: </a:t>
            </a:r>
            <a:r>
              <a:rPr lang="de-AT" sz="882" i="1">
                <a:solidFill>
                  <a:schemeClr val="accent6">
                    <a:lumMod val="75000"/>
                  </a:schemeClr>
                </a:solidFill>
                <a:latin typeface="Amalia" panose="020B0504020203020204" pitchFamily="34" charset="0"/>
                <a:hlinkClick r:id="rId4"/>
              </a:rPr>
              <a:t>www.raiffeisenresearch.com/disclosuresobjectivity</a:t>
            </a:r>
            <a:endParaRPr lang="de-AT" sz="882" i="1">
              <a:solidFill>
                <a:prstClr val="black"/>
              </a:solidFill>
              <a:latin typeface="Amalia" panose="020B0504020203020204" pitchFamily="34" charset="0"/>
            </a:endParaRPr>
          </a:p>
        </p:txBody>
      </p:sp>
      <p:sp>
        <p:nvSpPr>
          <p:cNvPr id="13" name="Titel 5">
            <a:extLst>
              <a:ext uri="{FF2B5EF4-FFF2-40B4-BE49-F238E27FC236}">
                <a16:creationId xmlns:a16="http://schemas.microsoft.com/office/drawing/2014/main" id="{70CB52AD-1F36-4530-B6C7-C52945AEA388}"/>
              </a:ext>
            </a:extLst>
          </p:cNvPr>
          <p:cNvSpPr txBox="1">
            <a:spLocks/>
          </p:cNvSpPr>
          <p:nvPr/>
        </p:nvSpPr>
        <p:spPr bwMode="gray">
          <a:xfrm>
            <a:off x="549944" y="359504"/>
            <a:ext cx="12259593" cy="85272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de-DE" sz="2400" b="1">
                <a:latin typeface="Amalia" panose="020B0504020203020204" pitchFamily="34" charset="0"/>
              </a:rPr>
              <a:t>Risikohinweise und Aufklärungen</a:t>
            </a:r>
            <a:endParaRPr lang="en-GB" sz="2400" b="1">
              <a:solidFill>
                <a:prstClr val="black"/>
              </a:solidFill>
              <a:latin typeface="Amalia" panose="020B0504020203020204" pitchFamily="34" charset="0"/>
            </a:endParaRPr>
          </a:p>
        </p:txBody>
      </p:sp>
      <p:graphicFrame>
        <p:nvGraphicFramePr>
          <p:cNvPr id="30" name="Tabelle 6">
            <a:extLst>
              <a:ext uri="{FF2B5EF4-FFF2-40B4-BE49-F238E27FC236}">
                <a16:creationId xmlns:a16="http://schemas.microsoft.com/office/drawing/2014/main" id="{5A10EE5A-20F3-4818-9CA8-AAE628F93C72}"/>
              </a:ext>
            </a:extLst>
          </p:cNvPr>
          <p:cNvGraphicFramePr>
            <a:graphicFrameLocks noGrp="1"/>
          </p:cNvGraphicFramePr>
          <p:nvPr>
            <p:extLst>
              <p:ext uri="{D42A27DB-BD31-4B8C-83A1-F6EECF244321}">
                <p14:modId xmlns:p14="http://schemas.microsoft.com/office/powerpoint/2010/main" val="3962066178"/>
              </p:ext>
            </p:extLst>
          </p:nvPr>
        </p:nvGraphicFramePr>
        <p:xfrm>
          <a:off x="7129542" y="1417638"/>
          <a:ext cx="5824725" cy="4301003"/>
        </p:xfrm>
        <a:graphic>
          <a:graphicData uri="http://schemas.openxmlformats.org/drawingml/2006/table">
            <a:tbl>
              <a:tblPr firstRow="1" bandRow="1">
                <a:tableStyleId>{7DF18680-E054-41AD-8BC1-D1AEF772440D}</a:tableStyleId>
              </a:tblPr>
              <a:tblGrid>
                <a:gridCol w="1497787">
                  <a:extLst>
                    <a:ext uri="{9D8B030D-6E8A-4147-A177-3AD203B41FA5}">
                      <a16:colId xmlns:a16="http://schemas.microsoft.com/office/drawing/2014/main" val="20000"/>
                    </a:ext>
                  </a:extLst>
                </a:gridCol>
                <a:gridCol w="1977609">
                  <a:extLst>
                    <a:ext uri="{9D8B030D-6E8A-4147-A177-3AD203B41FA5}">
                      <a16:colId xmlns:a16="http://schemas.microsoft.com/office/drawing/2014/main" val="20001"/>
                    </a:ext>
                  </a:extLst>
                </a:gridCol>
                <a:gridCol w="2349329">
                  <a:extLst>
                    <a:ext uri="{9D8B030D-6E8A-4147-A177-3AD203B41FA5}">
                      <a16:colId xmlns:a16="http://schemas.microsoft.com/office/drawing/2014/main" val="20002"/>
                    </a:ext>
                  </a:extLst>
                </a:gridCol>
              </a:tblGrid>
              <a:tr h="1314850">
                <a:tc gridSpan="3">
                  <a:txBody>
                    <a:bodyPr/>
                    <a:lstStyle/>
                    <a:p>
                      <a:pPr marL="88900" marR="0" indent="0" algn="l" defTabSz="937186" rtl="0" eaLnBrk="1" fontAlgn="auto" latinLnBrk="0" hangingPunct="1">
                        <a:lnSpc>
                          <a:spcPct val="100000"/>
                        </a:lnSpc>
                        <a:spcBef>
                          <a:spcPts val="0"/>
                        </a:spcBef>
                        <a:spcAft>
                          <a:spcPts val="0"/>
                        </a:spcAft>
                        <a:buClrTx/>
                        <a:buSzTx/>
                        <a:buFontTx/>
                        <a:buNone/>
                        <a:tabLst/>
                        <a:defRPr/>
                      </a:pPr>
                      <a:r>
                        <a:rPr lang="de-AT" sz="1500" u="none" strike="noStrike" kern="1200" baseline="30000">
                          <a:latin typeface="Amalia" panose="020B0504020203020204" pitchFamily="34" charset="0"/>
                        </a:rPr>
                        <a:t>Verteilung aller Empfehlungen für die dem Erstellungsdatum der Publikation vorhergehenden 12 Monate (Spalte A) sowie die Verteilung der Empfehlungen, in deren Zusammenhang in den letzten 12 Monaten Wertpapierdienstleistungen gemäß Anhang I Abschnitte A (Wertpapierdienstleistungen und Anlagetätigkeiten) und B (</a:t>
                      </a:r>
                      <a:r>
                        <a:rPr lang="de-AT" sz="1800" u="none" strike="noStrike" kern="1200" baseline="30000">
                          <a:latin typeface="Amalia" panose="020B0504020203020204" pitchFamily="34" charset="0"/>
                        </a:rPr>
                        <a:t>Nebendienstleistungen</a:t>
                      </a:r>
                      <a:r>
                        <a:rPr lang="de-AT" sz="1500" u="none" strike="noStrike" kern="1200" baseline="30000">
                          <a:latin typeface="Amalia" panose="020B0504020203020204" pitchFamily="34" charset="0"/>
                        </a:rPr>
                        <a:t>) der Richtlinie 2014/65/EU des Europäischen Parlaments und des Rates („Spezielle Dienstleistungen”) erbracht wurden (Spalte B).</a:t>
                      </a:r>
                      <a:endParaRPr lang="de-AT" sz="1500" b="1" i="0" u="none" strike="noStrike" kern="1200" baseline="30000">
                        <a:solidFill>
                          <a:schemeClr val="lt1"/>
                        </a:solidFill>
                        <a:latin typeface="Amalia" panose="020B0504020203020204" pitchFamily="34" charset="0"/>
                        <a:ea typeface="+mn-ea"/>
                        <a:cs typeface="+mn-cs"/>
                      </a:endParaRPr>
                    </a:p>
                  </a:txBody>
                  <a:tcPr marT="108000" anchor="ctr"/>
                </a:tc>
                <a:tc hMerge="1">
                  <a:txBody>
                    <a:bodyPr/>
                    <a:lstStyle/>
                    <a:p>
                      <a:endParaRPr lang="de-AT"/>
                    </a:p>
                  </a:txBody>
                  <a:tcPr/>
                </a:tc>
                <a:tc hMerge="1">
                  <a:txBody>
                    <a:bodyPr/>
                    <a:lstStyle/>
                    <a:p>
                      <a:endParaRPr lang="de-AT"/>
                    </a:p>
                  </a:txBody>
                  <a:tcPr/>
                </a:tc>
                <a:extLst>
                  <a:ext uri="{0D108BD9-81ED-4DB2-BD59-A6C34878D82A}">
                    <a16:rowId xmlns:a16="http://schemas.microsoft.com/office/drawing/2014/main" val="10000"/>
                  </a:ext>
                </a:extLst>
              </a:tr>
              <a:tr h="1271621">
                <a:tc>
                  <a:txBody>
                    <a:bodyPr/>
                    <a:lstStyle/>
                    <a:p>
                      <a:pPr>
                        <a:lnSpc>
                          <a:spcPct val="120000"/>
                        </a:lnSpc>
                        <a:spcAft>
                          <a:spcPts val="0"/>
                        </a:spcAft>
                      </a:pPr>
                      <a:r>
                        <a:rPr lang="de-DE" sz="1100">
                          <a:effectLst/>
                          <a:latin typeface="Amalia" panose="020B0504020203020204" pitchFamily="34" charset="0"/>
                        </a:rPr>
                        <a:t>Anlageempfehlung</a:t>
                      </a:r>
                      <a:endParaRPr lang="en-GB" sz="1100" b="1">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900">
                          <a:effectLst/>
                          <a:latin typeface="Amalia" panose="020B0504020203020204" pitchFamily="34" charset="0"/>
                        </a:rPr>
                        <a:t>Spalte A</a:t>
                      </a:r>
                      <a:endParaRPr lang="en-GB" sz="900">
                        <a:effectLst/>
                        <a:latin typeface="Amalia" panose="020B0504020203020204" pitchFamily="34" charset="0"/>
                      </a:endParaRPr>
                    </a:p>
                    <a:p>
                      <a:pPr algn="ctr">
                        <a:lnSpc>
                          <a:spcPct val="120000"/>
                        </a:lnSpc>
                        <a:spcAft>
                          <a:spcPts val="0"/>
                        </a:spcAft>
                      </a:pPr>
                      <a:r>
                        <a:rPr lang="de-DE" sz="900">
                          <a:effectLst/>
                          <a:latin typeface="Amalia" panose="020B0504020203020204" pitchFamily="34" charset="0"/>
                        </a:rPr>
                        <a:t>Basis: Alle Empfehlungen aller Finanzinstrumente </a:t>
                      </a:r>
                      <a:br>
                        <a:rPr lang="de-DE" sz="900">
                          <a:effectLst/>
                          <a:latin typeface="Amalia" panose="020B0504020203020204" pitchFamily="34" charset="0"/>
                        </a:rPr>
                      </a:br>
                      <a:r>
                        <a:rPr lang="de-DE" sz="900">
                          <a:effectLst/>
                          <a:latin typeface="Amalia" panose="020B0504020203020204" pitchFamily="34" charset="0"/>
                        </a:rPr>
                        <a:t>(vorhergehende 12 Monate)</a:t>
                      </a:r>
                      <a:endParaRPr lang="en-GB" sz="900" b="1">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900">
                          <a:effectLst/>
                          <a:latin typeface="Amalia" panose="020B0504020203020204" pitchFamily="34" charset="0"/>
                        </a:rPr>
                        <a:t>Spalte B</a:t>
                      </a:r>
                      <a:endParaRPr lang="en-GB" sz="900">
                        <a:effectLst/>
                        <a:latin typeface="Amalia" panose="020B0504020203020204" pitchFamily="34" charset="0"/>
                      </a:endParaRPr>
                    </a:p>
                    <a:p>
                      <a:pPr algn="ctr">
                        <a:lnSpc>
                          <a:spcPct val="120000"/>
                        </a:lnSpc>
                        <a:spcAft>
                          <a:spcPts val="0"/>
                        </a:spcAft>
                      </a:pPr>
                      <a:r>
                        <a:rPr lang="de-DE" sz="900">
                          <a:effectLst/>
                          <a:latin typeface="Amalia" panose="020B0504020203020204" pitchFamily="34" charset="0"/>
                        </a:rPr>
                        <a:t>Basis: Empfehlungen von Finanzinstrumenten aller Emittenten, für die in den letzten 12 Monaten „Spezielle Dienstleistungen” erbracht wurden</a:t>
                      </a:r>
                      <a:endParaRPr lang="en-GB" sz="900" b="1">
                        <a:solidFill>
                          <a:srgbClr val="000000"/>
                        </a:solidFill>
                        <a:effectLst/>
                        <a:latin typeface="Amalia" panose="020B0504020203020204" pitchFamily="34" charset="0"/>
                        <a:ea typeface="Calibri"/>
                        <a:cs typeface="Futura CE Book"/>
                      </a:endParaRPr>
                    </a:p>
                  </a:txBody>
                  <a:tcPr marL="39211" marR="39211" marT="25400" marB="25400" anchor="ctr"/>
                </a:tc>
                <a:extLst>
                  <a:ext uri="{0D108BD9-81ED-4DB2-BD59-A6C34878D82A}">
                    <a16:rowId xmlns:a16="http://schemas.microsoft.com/office/drawing/2014/main" val="10001"/>
                  </a:ext>
                </a:extLst>
              </a:tr>
              <a:tr h="394486">
                <a:tc>
                  <a:txBody>
                    <a:bodyPr/>
                    <a:lstStyle/>
                    <a:p>
                      <a:pPr>
                        <a:lnSpc>
                          <a:spcPct val="120000"/>
                        </a:lnSpc>
                        <a:spcAft>
                          <a:spcPts val="0"/>
                        </a:spcAft>
                      </a:pPr>
                      <a:r>
                        <a:rPr lang="de-DE" sz="1100">
                          <a:effectLst/>
                          <a:latin typeface="Amalia" panose="020B0504020203020204" pitchFamily="34" charset="0"/>
                        </a:rPr>
                        <a:t>Kauf-Empfehlungen</a:t>
                      </a:r>
                      <a:endParaRPr lang="en-GB" sz="1100">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1200">
                          <a:solidFill>
                            <a:srgbClr val="000000"/>
                          </a:solidFill>
                          <a:effectLst/>
                          <a:latin typeface="Amalia" panose="020B0504020203020204" pitchFamily="34" charset="0"/>
                          <a:ea typeface="Calibri"/>
                          <a:cs typeface="Futura CE Book"/>
                        </a:rPr>
                        <a:t>56,8%</a:t>
                      </a:r>
                      <a:endParaRPr lang="en-GB" sz="1200">
                        <a:solidFill>
                          <a:srgbClr val="000000"/>
                        </a:solidFill>
                        <a:effectLst/>
                        <a:latin typeface="Amalia" panose="020B0504020203020204" pitchFamily="34" charset="0"/>
                        <a:ea typeface="Calibri"/>
                        <a:cs typeface="Futura CE Book"/>
                      </a:endParaRPr>
                    </a:p>
                  </a:txBody>
                  <a:tcPr marL="32829" marR="32829" marT="24622" marB="24622" anchor="ctr"/>
                </a:tc>
                <a:tc>
                  <a:txBody>
                    <a:bodyPr/>
                    <a:lstStyle/>
                    <a:p>
                      <a:pPr algn="ctr">
                        <a:lnSpc>
                          <a:spcPct val="120000"/>
                        </a:lnSpc>
                        <a:spcAft>
                          <a:spcPts val="0"/>
                        </a:spcAft>
                      </a:pPr>
                      <a:r>
                        <a:rPr lang="de-DE" sz="1200">
                          <a:solidFill>
                            <a:srgbClr val="000000"/>
                          </a:solidFill>
                          <a:effectLst/>
                          <a:latin typeface="Amalia" panose="020B0504020203020204" pitchFamily="34" charset="0"/>
                          <a:ea typeface="Calibri"/>
                          <a:cs typeface="Futura CE Book"/>
                        </a:rPr>
                        <a:t>53,3 %</a:t>
                      </a:r>
                      <a:endParaRPr lang="en-GB" sz="1200">
                        <a:solidFill>
                          <a:srgbClr val="000000"/>
                        </a:solidFill>
                        <a:effectLst/>
                        <a:latin typeface="Amalia" panose="020B0504020203020204" pitchFamily="34" charset="0"/>
                        <a:ea typeface="Calibri"/>
                        <a:cs typeface="Futura CE Book"/>
                      </a:endParaRPr>
                    </a:p>
                  </a:txBody>
                  <a:tcPr marL="32829" marR="32829" marT="24622" marB="24622" anchor="ctr"/>
                </a:tc>
                <a:extLst>
                  <a:ext uri="{0D108BD9-81ED-4DB2-BD59-A6C34878D82A}">
                    <a16:rowId xmlns:a16="http://schemas.microsoft.com/office/drawing/2014/main" val="10002"/>
                  </a:ext>
                </a:extLst>
              </a:tr>
              <a:tr h="660023">
                <a:tc>
                  <a:txBody>
                    <a:bodyPr/>
                    <a:lstStyle/>
                    <a:p>
                      <a:pPr>
                        <a:lnSpc>
                          <a:spcPct val="120000"/>
                        </a:lnSpc>
                        <a:spcAft>
                          <a:spcPts val="0"/>
                        </a:spcAft>
                      </a:pPr>
                      <a:r>
                        <a:rPr lang="de-DE" sz="1100">
                          <a:effectLst/>
                          <a:latin typeface="Amalia" panose="020B0504020203020204" pitchFamily="34" charset="0"/>
                        </a:rPr>
                        <a:t>Halten-Empfehlungen</a:t>
                      </a:r>
                      <a:endParaRPr lang="en-GB" sz="1100">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1200">
                          <a:solidFill>
                            <a:srgbClr val="000000"/>
                          </a:solidFill>
                          <a:effectLst/>
                          <a:latin typeface="Amalia" panose="020B0504020203020204" pitchFamily="34" charset="0"/>
                          <a:ea typeface="Calibri"/>
                          <a:cs typeface="Futura CE Book"/>
                        </a:rPr>
                        <a:t>23,4 %</a:t>
                      </a:r>
                      <a:endParaRPr lang="en-GB" sz="1200">
                        <a:solidFill>
                          <a:srgbClr val="000000"/>
                        </a:solidFill>
                        <a:effectLst/>
                        <a:latin typeface="Amalia" panose="020B0504020203020204" pitchFamily="34" charset="0"/>
                        <a:ea typeface="Calibri"/>
                        <a:cs typeface="Futura CE Book"/>
                      </a:endParaRPr>
                    </a:p>
                  </a:txBody>
                  <a:tcPr marL="32829" marR="32829" marT="24622" marB="24622" anchor="ctr"/>
                </a:tc>
                <a:tc>
                  <a:txBody>
                    <a:bodyPr/>
                    <a:lstStyle/>
                    <a:p>
                      <a:pPr algn="ctr">
                        <a:lnSpc>
                          <a:spcPct val="120000"/>
                        </a:lnSpc>
                        <a:spcAft>
                          <a:spcPts val="0"/>
                        </a:spcAft>
                      </a:pPr>
                      <a:r>
                        <a:rPr lang="de-DE" sz="1200">
                          <a:solidFill>
                            <a:srgbClr val="000000"/>
                          </a:solidFill>
                          <a:effectLst/>
                          <a:latin typeface="Amalia" panose="020B0504020203020204" pitchFamily="34" charset="0"/>
                          <a:ea typeface="Calibri"/>
                          <a:cs typeface="Futura CE Book"/>
                        </a:rPr>
                        <a:t>25,5 %</a:t>
                      </a:r>
                      <a:endParaRPr lang="en-GB" sz="1200">
                        <a:solidFill>
                          <a:srgbClr val="000000"/>
                        </a:solidFill>
                        <a:effectLst/>
                        <a:latin typeface="Amalia" panose="020B0504020203020204" pitchFamily="34" charset="0"/>
                        <a:ea typeface="Calibri"/>
                        <a:cs typeface="Futura CE Book"/>
                      </a:endParaRPr>
                    </a:p>
                  </a:txBody>
                  <a:tcPr marL="32829" marR="32829" marT="24622" marB="24622" anchor="ctr"/>
                </a:tc>
                <a:extLst>
                  <a:ext uri="{0D108BD9-81ED-4DB2-BD59-A6C34878D82A}">
                    <a16:rowId xmlns:a16="http://schemas.microsoft.com/office/drawing/2014/main" val="10003"/>
                  </a:ext>
                </a:extLst>
              </a:tr>
              <a:tr h="660023">
                <a:tc>
                  <a:txBody>
                    <a:bodyPr/>
                    <a:lstStyle/>
                    <a:p>
                      <a:pPr>
                        <a:lnSpc>
                          <a:spcPct val="120000"/>
                        </a:lnSpc>
                        <a:spcAft>
                          <a:spcPts val="0"/>
                        </a:spcAft>
                      </a:pPr>
                      <a:r>
                        <a:rPr lang="de-DE" sz="1100">
                          <a:effectLst/>
                          <a:latin typeface="Amalia" panose="020B0504020203020204" pitchFamily="34" charset="0"/>
                        </a:rPr>
                        <a:t>Verkaufs-Empfehlungen</a:t>
                      </a:r>
                      <a:endParaRPr lang="en-GB" sz="1100">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1200">
                          <a:solidFill>
                            <a:srgbClr val="000000"/>
                          </a:solidFill>
                          <a:effectLst/>
                          <a:latin typeface="Amalia" panose="020B0504020203020204" pitchFamily="34" charset="0"/>
                          <a:ea typeface="Calibri"/>
                          <a:cs typeface="Futura CE Book"/>
                        </a:rPr>
                        <a:t>19,8 %</a:t>
                      </a:r>
                      <a:endParaRPr lang="en-GB" sz="1200">
                        <a:solidFill>
                          <a:srgbClr val="000000"/>
                        </a:solidFill>
                        <a:effectLst/>
                        <a:latin typeface="Amalia" panose="020B0504020203020204" pitchFamily="34" charset="0"/>
                        <a:ea typeface="Calibri"/>
                        <a:cs typeface="Futura CE Book"/>
                      </a:endParaRPr>
                    </a:p>
                  </a:txBody>
                  <a:tcPr marL="32829" marR="32829" marT="24622" marB="24622" anchor="ctr"/>
                </a:tc>
                <a:tc>
                  <a:txBody>
                    <a:bodyPr/>
                    <a:lstStyle/>
                    <a:p>
                      <a:pPr algn="ctr">
                        <a:lnSpc>
                          <a:spcPct val="120000"/>
                        </a:lnSpc>
                        <a:spcAft>
                          <a:spcPts val="0"/>
                        </a:spcAft>
                      </a:pPr>
                      <a:r>
                        <a:rPr lang="de-DE" sz="1200">
                          <a:solidFill>
                            <a:srgbClr val="000000"/>
                          </a:solidFill>
                          <a:effectLst/>
                          <a:latin typeface="Amalia" panose="020B0504020203020204" pitchFamily="34" charset="0"/>
                          <a:ea typeface="Calibri"/>
                          <a:cs typeface="Futura CE Book"/>
                        </a:rPr>
                        <a:t>21,2 %</a:t>
                      </a:r>
                      <a:endParaRPr lang="en-GB" sz="1200">
                        <a:solidFill>
                          <a:srgbClr val="000000"/>
                        </a:solidFill>
                        <a:effectLst/>
                        <a:latin typeface="Amalia" panose="020B0504020203020204" pitchFamily="34" charset="0"/>
                        <a:ea typeface="Calibri"/>
                        <a:cs typeface="Futura CE Book"/>
                      </a:endParaRPr>
                    </a:p>
                  </a:txBody>
                  <a:tcPr marL="32829" marR="32829" marT="24622" marB="24622" anchor="ctr"/>
                </a:tc>
                <a:extLst>
                  <a:ext uri="{0D108BD9-81ED-4DB2-BD59-A6C34878D82A}">
                    <a16:rowId xmlns:a16="http://schemas.microsoft.com/office/drawing/2014/main" val="10004"/>
                  </a:ext>
                </a:extLst>
              </a:tr>
            </a:tbl>
          </a:graphicData>
        </a:graphic>
      </p:graphicFrame>
      <p:sp>
        <p:nvSpPr>
          <p:cNvPr id="3" name="Rectangle 2">
            <a:extLst>
              <a:ext uri="{FF2B5EF4-FFF2-40B4-BE49-F238E27FC236}">
                <a16:creationId xmlns:a16="http://schemas.microsoft.com/office/drawing/2014/main" id="{22BAA7EC-F35C-49DC-B496-7EDBAEBDB494}"/>
              </a:ext>
            </a:extLst>
          </p:cNvPr>
          <p:cNvSpPr/>
          <p:nvPr/>
        </p:nvSpPr>
        <p:spPr>
          <a:xfrm>
            <a:off x="7043815" y="6065958"/>
            <a:ext cx="5910452" cy="771237"/>
          </a:xfrm>
          <a:prstGeom prst="rect">
            <a:avLst/>
          </a:prstGeom>
        </p:spPr>
        <p:txBody>
          <a:bodyPr wrap="square">
            <a:spAutoFit/>
          </a:bodyPr>
          <a:lstStyle/>
          <a:p>
            <a:r>
              <a:rPr lang="de-AT" sz="1103">
                <a:latin typeface="Amalia" panose="020B0504020203020204" pitchFamily="34" charset="0"/>
              </a:rPr>
              <a:t>Detaillierte Informationen zu Empfehlungen der dieser Publikation unmittelbar vorausgehenden 12 Monate zu Finanzinstrumenten und Emittenten (gem. Art. 4 (1) i) Delegierte Verordnung (EU) 2016/958 vom 9. März 2016) sind verfügbar unter</a:t>
            </a:r>
            <a:r>
              <a:rPr lang="de-AT" sz="1103" baseline="30000">
                <a:latin typeface="Amalia" panose="020B0504020203020204" pitchFamily="34" charset="0"/>
              </a:rPr>
              <a:t>: </a:t>
            </a:r>
            <a:r>
              <a:rPr lang="de-AT" sz="1103" i="1" u="sng">
                <a:latin typeface="Amalia" panose="020B0504020203020204" pitchFamily="34" charset="0"/>
                <a:hlinkClick r:id="rId5"/>
              </a:rPr>
              <a:t>https://raiffeisenresearch.com/web/rbi-research-portal/recommendation_history</a:t>
            </a:r>
            <a:endParaRPr lang="de-AT" sz="1103">
              <a:latin typeface="Amalia" panose="020B0504020203020204" pitchFamily="34" charset="0"/>
            </a:endParaRPr>
          </a:p>
        </p:txBody>
      </p:sp>
    </p:spTree>
    <p:extLst>
      <p:ext uri="{BB962C8B-B14F-4D97-AF65-F5344CB8AC3E}">
        <p14:creationId xmlns:p14="http://schemas.microsoft.com/office/powerpoint/2010/main" val="37611127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882" name="Rectangle 2"/>
          <p:cNvSpPr>
            <a:spLocks noGrp="1"/>
          </p:cNvSpPr>
          <p:nvPr>
            <p:ph type="title"/>
          </p:nvPr>
        </p:nvSpPr>
        <p:spPr>
          <a:xfrm>
            <a:off x="634629" y="501438"/>
            <a:ext cx="10546210" cy="373750"/>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solidFill>
                  <a:prstClr val="black"/>
                </a:solidFill>
              </a:rPr>
              <a:t>Disclaimer Finanzanalyse</a:t>
            </a:r>
            <a:endParaRPr lang="de-AT" sz="2400"/>
          </a:p>
        </p:txBody>
      </p:sp>
      <p:sp>
        <p:nvSpPr>
          <p:cNvPr id="5754883" name="Text Box 3"/>
          <p:cNvSpPr txBox="1">
            <a:spLocks noChangeArrowheads="1"/>
          </p:cNvSpPr>
          <p:nvPr/>
        </p:nvSpPr>
        <p:spPr bwMode="auto">
          <a:xfrm>
            <a:off x="1765884" y="2206545"/>
            <a:ext cx="9919147" cy="2188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15481" tIns="57744" rIns="115481" bIns="57744">
            <a:spAutoFit/>
          </a:bodyPr>
          <a:lstStyle/>
          <a:p>
            <a:pPr algn="ctr" eaLnBrk="0" hangingPunct="0">
              <a:spcBef>
                <a:spcPct val="0"/>
              </a:spcBef>
              <a:spcAft>
                <a:spcPct val="0"/>
              </a:spcAft>
              <a:buFontTx/>
              <a:buNone/>
            </a:pPr>
            <a:endParaRPr lang="de-AT" sz="3945"/>
          </a:p>
          <a:p>
            <a:pPr algn="ctr" eaLnBrk="0" hangingPunct="0">
              <a:spcBef>
                <a:spcPct val="0"/>
              </a:spcBef>
              <a:spcAft>
                <a:spcPct val="0"/>
              </a:spcAft>
              <a:buFontTx/>
              <a:buNone/>
            </a:pPr>
            <a:endParaRPr lang="en-GB" sz="2553"/>
          </a:p>
          <a:p>
            <a:pPr algn="ctr" eaLnBrk="0" hangingPunct="0">
              <a:spcBef>
                <a:spcPct val="0"/>
              </a:spcBef>
              <a:spcAft>
                <a:spcPct val="0"/>
              </a:spcAft>
              <a:buFontTx/>
              <a:buNone/>
            </a:pPr>
            <a:endParaRPr lang="en-GB" sz="3365"/>
          </a:p>
          <a:p>
            <a:pPr algn="ctr" eaLnBrk="0" hangingPunct="0">
              <a:spcBef>
                <a:spcPct val="0"/>
              </a:spcBef>
              <a:spcAft>
                <a:spcPct val="0"/>
              </a:spcAft>
              <a:buFontTx/>
              <a:buNone/>
            </a:pPr>
            <a:endParaRPr lang="en-GB" sz="3599"/>
          </a:p>
        </p:txBody>
      </p:sp>
      <p:sp>
        <p:nvSpPr>
          <p:cNvPr id="5754884" name="Text Box 4"/>
          <p:cNvSpPr txBox="1">
            <a:spLocks noChangeArrowheads="1"/>
          </p:cNvSpPr>
          <p:nvPr/>
        </p:nvSpPr>
        <p:spPr bwMode="auto">
          <a:xfrm>
            <a:off x="524099" y="1202114"/>
            <a:ext cx="12374500" cy="384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algn="just" defTabSz="1169755"/>
            <a:r>
              <a:rPr lang="de-AT" sz="1100">
                <a:solidFill>
                  <a:prstClr val="black"/>
                </a:solidFill>
                <a:latin typeface="Amalia" panose="020B0504020203020204" pitchFamily="34" charset="0"/>
              </a:rPr>
              <a:t>Für die Erstellung dieser Publikation verantwortlich: Raiffeisen Bank International AG („RBI“)</a:t>
            </a:r>
          </a:p>
          <a:p>
            <a:pPr algn="just" defTabSz="1169755"/>
            <a:r>
              <a:rPr lang="de-AT" sz="1100">
                <a:solidFill>
                  <a:prstClr val="black"/>
                </a:solidFill>
                <a:latin typeface="Amalia" panose="020B0504020203020204" pitchFamily="34" charset="0"/>
              </a:rPr>
              <a:t>Die RBI ist ein Kreditinstitut gemäß § 1 Bankwesengesetz (BWG) mit dem Firmensitz Am Stadtpark 9, 1030 Wien, Österreich.</a:t>
            </a:r>
          </a:p>
          <a:p>
            <a:pPr algn="just" defTabSz="1169755"/>
            <a:r>
              <a:rPr lang="de-AT" sz="1100">
                <a:solidFill>
                  <a:prstClr val="black"/>
                </a:solidFill>
                <a:latin typeface="Amalia" panose="020B0504020203020204" pitchFamily="34" charset="0"/>
              </a:rPr>
              <a:t>Raiffeisen Research ist eine Organisationseinheit der RBI.</a:t>
            </a:r>
          </a:p>
          <a:p>
            <a:pPr algn="just" defTabSz="1169755"/>
            <a:r>
              <a:rPr lang="de-AT" sz="1100">
                <a:solidFill>
                  <a:prstClr val="black"/>
                </a:solidFill>
                <a:latin typeface="Amalia" panose="020B0504020203020204" pitchFamily="34" charset="0"/>
              </a:rPr>
              <a:t>Zuständige Aufsichtsbehörde: Als ein Kreditinstitut gemäß § 1 Bankwesengesetz (BWG) unterliegt die Raiffeisen Bank International AG („RBI“) der Aufsicht der Finanzmarktaufsicht (FMA) und der </a:t>
            </a:r>
            <a:r>
              <a:rPr lang="de-AT" sz="1100" err="1">
                <a:solidFill>
                  <a:prstClr val="black"/>
                </a:solidFill>
                <a:latin typeface="Amalia" panose="020B0504020203020204" pitchFamily="34" charset="0"/>
              </a:rPr>
              <a:t>Oesterreichischen</a:t>
            </a:r>
            <a:r>
              <a:rPr lang="de-AT" sz="1100">
                <a:solidFill>
                  <a:prstClr val="black"/>
                </a:solidFill>
                <a:latin typeface="Amalia" panose="020B0504020203020204" pitchFamily="34" charset="0"/>
              </a:rPr>
              <a:t> Nationalbank. Darüber hinaus unterliegt die RBI der behördlichen Aufsicht der Europäischen Zentralbank (EZB), die diese innerhalb eines Einheitlichen Aufsichtsmechanismus (Single </a:t>
            </a:r>
            <a:r>
              <a:rPr lang="de-AT" sz="1100" err="1">
                <a:solidFill>
                  <a:prstClr val="black"/>
                </a:solidFill>
                <a:latin typeface="Amalia" panose="020B0504020203020204" pitchFamily="34" charset="0"/>
              </a:rPr>
              <a:t>Supervisory</a:t>
            </a:r>
            <a:r>
              <a:rPr lang="de-AT" sz="1100">
                <a:solidFill>
                  <a:prstClr val="black"/>
                </a:solidFill>
                <a:latin typeface="Amalia" panose="020B0504020203020204" pitchFamily="34" charset="0"/>
              </a:rPr>
              <a:t> </a:t>
            </a:r>
            <a:r>
              <a:rPr lang="de-AT" sz="1100" err="1">
                <a:solidFill>
                  <a:prstClr val="black"/>
                </a:solidFill>
                <a:latin typeface="Amalia" panose="020B0504020203020204" pitchFamily="34" charset="0"/>
              </a:rPr>
              <a:t>Mechanism</a:t>
            </a:r>
            <a:r>
              <a:rPr lang="de-AT" sz="1100">
                <a:solidFill>
                  <a:prstClr val="black"/>
                </a:solidFill>
                <a:latin typeface="Amalia" panose="020B0504020203020204" pitchFamily="34" charset="0"/>
              </a:rPr>
              <a:t> – SSM) wahrnimmt, der aus der EZB und den nationalen zuständigen Behörden besteht (Verordnung (EU) Nr. 1024/2013 des Rates – SSM-Verordnung). Verweise auf gesetzliche Normen beziehen sich auf solche der Republik Österreich, soweit nicht ausdrücklich anders angeführt.</a:t>
            </a:r>
          </a:p>
          <a:p>
            <a:pPr algn="just" defTabSz="1169755"/>
            <a:r>
              <a:rPr lang="de-AT" sz="1100">
                <a:solidFill>
                  <a:prstClr val="black"/>
                </a:solidFill>
                <a:latin typeface="Amalia" panose="020B0504020203020204" pitchFamily="34" charset="0"/>
              </a:rPr>
              <a:t>Dieses Dokument dient zu Informationszwecken und darf nicht ohne Zustimmung der RBI vervielfältigt oder an andere Personen weiterverteilt werden. Dieses Dokument ist weder ein Angebot, noch eine Einladung zur Angebotsstellung, noch ein Prospekt im Sinne des KMG oder des </a:t>
            </a:r>
            <a:r>
              <a:rPr lang="de-AT" sz="1100" err="1">
                <a:solidFill>
                  <a:prstClr val="black"/>
                </a:solidFill>
                <a:latin typeface="Amalia" panose="020B0504020203020204" pitchFamily="34" charset="0"/>
              </a:rPr>
              <a:t>Börsegesetzes</a:t>
            </a:r>
            <a:r>
              <a:rPr lang="de-AT" sz="1100">
                <a:solidFill>
                  <a:prstClr val="black"/>
                </a:solidFill>
                <a:latin typeface="Amalia" panose="020B0504020203020204" pitchFamily="34" charset="0"/>
              </a:rPr>
              <a:t> oder eines vergleichbaren ausländischen Gesetzes. Eine Anlageentscheidung hinsichtlich eines Finanzinstruments, eines Finanzproduktes oder einer Veranlagung (alle nachfolgend „Produkt“) hat auf Grundlage eines genehmigten und veröffentlichten Prospektes oder der vollständigen Dokumentation des entsprechenden Produkts zu erfolgen und nicht auf Grundlage dieses Dokuments.</a:t>
            </a:r>
          </a:p>
          <a:p>
            <a:pPr algn="just" defTabSz="1169755"/>
            <a:r>
              <a:rPr lang="de-AT" sz="1100">
                <a:solidFill>
                  <a:prstClr val="black"/>
                </a:solidFill>
                <a:latin typeface="Amalia" panose="020B0504020203020204" pitchFamily="34" charset="0"/>
              </a:rPr>
              <a:t>Dieses Dokument ist keine persönliche Empfehlung zum Kauf oder Verkauf von Finanzinstrumenten im Sinne des Wertpapieraufsichtsgesetzes. Weder dieses Dokument noch seine Bestandteile bilden die Grundlage irgendeines Vertrages oder einer Verpflichtung irgendeiner Art. Dieses Dokument stellt keinen Ersatz für die erforderliche Beratung in Bezug auf den Kauf oder Verkauf eines Finanzinstruments, eines Finanzproduktes oder einer Veranlagung dar. Eine individuelle anleger- und anlagegerechte Beratung in Bezug auf den Kauf oder Verkauf eines der genannten Produkte kann bei Ihrem Bankberater eingeholt werden.</a:t>
            </a:r>
          </a:p>
          <a:p>
            <a:pPr algn="just" defTabSz="1169755"/>
            <a:r>
              <a:rPr lang="de-AT" sz="1100">
                <a:solidFill>
                  <a:prstClr val="black"/>
                </a:solidFill>
                <a:latin typeface="Amalia" panose="020B0504020203020204" pitchFamily="34" charset="0"/>
              </a:rPr>
              <a:t>Diese Analyse basiert auf grundsätzlich allgemein zugänglichen Informationen und nicht auf vertraulichen Informationen, die dem unmittelbaren Verfasser der Analyse ausschließlich aufgrund der Kundenbeziehung zu einer Person zugegangen sind. </a:t>
            </a:r>
          </a:p>
          <a:p>
            <a:pPr algn="just" defTabSz="1169755"/>
            <a:r>
              <a:rPr lang="de-AT" sz="1100">
                <a:solidFill>
                  <a:prstClr val="black"/>
                </a:solidFill>
                <a:latin typeface="Amalia" panose="020B0504020203020204" pitchFamily="34" charset="0"/>
              </a:rPr>
              <a:t>Die RBI erachtet – außer anderwärtig in dieser Publikation ausdrücklich offengelegt – sämtliche Informationen als zuverlässig, macht jedoch keine Zusicherungen betreffend deren Genauigkeit und Vollständigkeit. </a:t>
            </a:r>
          </a:p>
          <a:p>
            <a:pPr algn="just" defTabSz="1169755"/>
            <a:r>
              <a:rPr lang="de-AT" sz="1100">
                <a:solidFill>
                  <a:prstClr val="black"/>
                </a:solidFill>
                <a:latin typeface="Amalia" panose="020B0504020203020204" pitchFamily="34" charset="0"/>
              </a:rPr>
              <a:t>In Schwellenmärkten kann ein erhöhtes Abrechnungs- und Depotstellenrisiko bestehen als in Märkten mit einer etablierten Infrastruktur. Die Liquidität von Aktien/Finanzinstrumenten ist unter anderem von der Anzahl der Market Maker beeinflussbar. Beide Umstände können zu einem erhöhten Risiko hinsichtlich der Sicherheit einer unter Berücksichtigung der in diesem Dokument enthaltenen Informationen getätigten Investition führen.</a:t>
            </a:r>
          </a:p>
        </p:txBody>
      </p:sp>
    </p:spTree>
    <p:extLst>
      <p:ext uri="{BB962C8B-B14F-4D97-AF65-F5344CB8AC3E}">
        <p14:creationId xmlns:p14="http://schemas.microsoft.com/office/powerpoint/2010/main" val="17605879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520735" y="1202312"/>
            <a:ext cx="12361287" cy="443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algn="just" defTabSz="1169755"/>
            <a:r>
              <a:rPr lang="de-AT" sz="1100">
                <a:solidFill>
                  <a:prstClr val="black"/>
                </a:solidFill>
                <a:latin typeface="Amalia" panose="020B0504020203020204" pitchFamily="34" charset="0"/>
              </a:rPr>
              <a:t>Die Information dieser Publikation entspricht dem Stand zum Erstellungsdatum. Sie kann aufgrund künftiger Entwicklungen überholt sein, ohne dass die Publikation geändert wird. </a:t>
            </a:r>
          </a:p>
          <a:p>
            <a:pPr algn="just" defTabSz="1169755"/>
            <a:r>
              <a:rPr lang="de-AT" sz="1100">
                <a:solidFill>
                  <a:prstClr val="black"/>
                </a:solidFill>
                <a:latin typeface="Amalia" panose="020B0504020203020204" pitchFamily="34" charset="0"/>
              </a:rPr>
              <a:t>Sofern nicht ausdrücklich anders offengelegt (www.raiffeisenresearch.com/special_compensation), werden die von der RBI beschäftigten Analysten nicht für bestimmte Investment Banking-Transaktionen vergütet. Die Vergütung des Autors bzw. der Autoren dieses Berichtes basiert (unter anderem) auf der Gesamtrentabilität der RBI, die sich unter anderem aus den Einnahmen aus dem Investmentbanking und sonstigen Geschäften der RBI ergibt. Im Allgemeinen verbietet die RBI ihren Analysten und diesen Bericht erstattenden Personen den Erwerb von Wertpapieren oder anderen Finanzinstrumenten jeglicher Unternehmen, die von den Analysten abgedeckt werden, sofern der Erwerb nicht von der Compliance-Abteilung der RBI vorab genehmigt wurde.</a:t>
            </a:r>
          </a:p>
          <a:p>
            <a:pPr algn="just" defTabSz="1169755"/>
            <a:r>
              <a:rPr lang="de-AT" sz="1100">
                <a:solidFill>
                  <a:prstClr val="black"/>
                </a:solidFill>
                <a:latin typeface="Amalia" panose="020B0504020203020204" pitchFamily="34" charset="0"/>
              </a:rPr>
              <a:t>Die RBI hat folgende organisatorische oder verwaltungstechnische Vereinbarungen – einschließlich Informationsschranken – zur Verhinderung oder Vermeidung von Interessenskonflikten im Zusammenhang mit Empfehlungen getroffen: Die RBI hat grundsätzlich verbindliche Vertraulichkeitsbereiche definiert. Diese sind typischerweise solche Einheiten von Kreditinstituten, die von anderen Einheiten durch organisatorische Maßnahmen hinsichtlich des Informationsaustausches abzugrenzen sind, weil dort ständig oder vorübergehend </a:t>
            </a:r>
            <a:r>
              <a:rPr lang="de-AT" sz="1100" err="1">
                <a:solidFill>
                  <a:prstClr val="black"/>
                </a:solidFill>
                <a:latin typeface="Amalia" panose="020B0504020203020204" pitchFamily="34" charset="0"/>
              </a:rPr>
              <a:t>compliance</a:t>
            </a:r>
            <a:r>
              <a:rPr lang="de-AT" sz="1100">
                <a:solidFill>
                  <a:prstClr val="black"/>
                </a:solidFill>
                <a:latin typeface="Amalia" panose="020B0504020203020204" pitchFamily="34" charset="0"/>
              </a:rPr>
              <a:t>-relevante Informationen anfallen können. Compliance-relevante Informationen dürfen einen Vertraulichkeitsbereich grundsätzlich nicht verlassen und sind im internen Geschäftsverkehr auch gegenüber anderen Einheiten streng vertraulich zu behandeln. Das gilt nicht für die im üblichen Geschäftsablauf betriebsnotwendige Weitergabe von Informationen. Diese beschränkt sich jedoch auf das unbedingt Erforderliche (Need-</a:t>
            </a:r>
            <a:r>
              <a:rPr lang="de-AT" sz="1100" err="1">
                <a:solidFill>
                  <a:prstClr val="black"/>
                </a:solidFill>
                <a:latin typeface="Amalia" panose="020B0504020203020204" pitchFamily="34" charset="0"/>
              </a:rPr>
              <a:t>to</a:t>
            </a:r>
            <a:r>
              <a:rPr lang="de-AT" sz="1100">
                <a:solidFill>
                  <a:prstClr val="black"/>
                </a:solidFill>
                <a:latin typeface="Amalia" panose="020B0504020203020204" pitchFamily="34" charset="0"/>
              </a:rPr>
              <a:t>-</a:t>
            </a:r>
            <a:r>
              <a:rPr lang="de-AT" sz="1100" err="1">
                <a:solidFill>
                  <a:prstClr val="black"/>
                </a:solidFill>
                <a:latin typeface="Amalia" panose="020B0504020203020204" pitchFamily="34" charset="0"/>
              </a:rPr>
              <a:t>know</a:t>
            </a:r>
            <a:r>
              <a:rPr lang="de-AT" sz="1100">
                <a:solidFill>
                  <a:prstClr val="black"/>
                </a:solidFill>
                <a:latin typeface="Amalia" panose="020B0504020203020204" pitchFamily="34" charset="0"/>
              </a:rPr>
              <a:t>-Prinzip). Werden </a:t>
            </a:r>
            <a:r>
              <a:rPr lang="de-AT" sz="1100" err="1">
                <a:solidFill>
                  <a:prstClr val="black"/>
                </a:solidFill>
                <a:latin typeface="Amalia" panose="020B0504020203020204" pitchFamily="34" charset="0"/>
              </a:rPr>
              <a:t>compliance</a:t>
            </a:r>
            <a:r>
              <a:rPr lang="de-AT" sz="1100">
                <a:solidFill>
                  <a:prstClr val="black"/>
                </a:solidFill>
                <a:latin typeface="Amalia" panose="020B0504020203020204" pitchFamily="34" charset="0"/>
              </a:rPr>
              <a:t>-relevante Informationen zwischen zwei Vertraulichkeitsbereichen ausgetauscht, darf das nur unter Einschaltung des Compliance </a:t>
            </a:r>
            <a:r>
              <a:rPr lang="de-AT" sz="1100" err="1">
                <a:solidFill>
                  <a:prstClr val="black"/>
                </a:solidFill>
                <a:latin typeface="Amalia" panose="020B0504020203020204" pitchFamily="34" charset="0"/>
              </a:rPr>
              <a:t>Officers</a:t>
            </a:r>
            <a:r>
              <a:rPr lang="de-AT" sz="1100">
                <a:solidFill>
                  <a:prstClr val="black"/>
                </a:solidFill>
                <a:latin typeface="Amalia" panose="020B0504020203020204" pitchFamily="34" charset="0"/>
              </a:rPr>
              <a:t> erfolgen.</a:t>
            </a:r>
          </a:p>
          <a:p>
            <a:pPr algn="just" defTabSz="1169755"/>
            <a:r>
              <a:rPr lang="de-AT" sz="1100">
                <a:solidFill>
                  <a:prstClr val="black"/>
                </a:solidFill>
                <a:latin typeface="Amalia" panose="020B0504020203020204" pitchFamily="34" charset="0"/>
              </a:rPr>
              <a:t>SONDERREGELN FÜR DAS VEREINIGTE KÖNIGREICH GROSSBRITANNIEN UND NORDIRLAND (UK): Dieses Dokument stellt weder ein öffentliches Angebot im Sinne des Kapitalmarktgesetzes („KMG“) dar, noch einen Prospekt im Sinne des KMG oder des Börsengesetzes. Ferner beabsichtigt dieses Dokument nicht die Empfehlung des Kaufs oder Verkaufs von Wertpapieren oder anderen Anlageformen im Sinne des Wertpapieraufsichtsgesetzes. Dieses Dokument stellt keinen Ersatz für die erforderliche Beratung in Bezug auf den Kauf oder Verkauf von Wertpapieren oder Anlagen dar. Für jegliche Beratung in Bezug auf den Kauf oder Verkauf von Wertpapieren oder Anlagen können Sie sich gerne an Ihre RAIFFEISENBANK wenden. Diese Publikation wurde von der Raiffeisen Bank International AG („RBI“) zur Förderung ihres Anlagengeschäftes genehmigt oder herausgegeben. Die RBI London Branch wurde von der österreichischen Finanzmarktaufsicht (FMA) ermächtigt und wird in eingeschränktem Maße von der Financial Conduct Authority („FCA“) reguliert. Details zum Ausmaß der Regulierung der Zweigniederlassung in London durch die FCA sind auf Anfrage erhältlich. Diese Veröffentlichung ist nicht für Investoren gedacht, die im Sinne der FCA-Regeln Endkunden sind, und darf daher nicht an sie verteilt werden. Weder die in diesem Dokument enthaltenen Informationen noch die darin geäußerten Meinungen stellen ein Angebot oder eine Aufforderung zu einem Angebot zum Kauf (oder Verkauf) von Anlagen dar und sind nicht derart auszulegen. Die RBI könnte eine Own Account Transaction (Transaktion in eigener Sache) im Sinne der FCA-Regeln in jede hierin erwähnte oder damit verbundene Anlage getätigt haben und als Folge einen Anteil oder eine Beteiligung an besagter Anlage halten. Die RBI könnte als Manager oder Co-Manager eines öffentlichen Angebots jedes in diesem Bericht erwähnten und/oder damit verbundenen Wertpapiers handeln oder gehandelt haben.</a:t>
            </a:r>
            <a:endParaRPr lang="en-GB" sz="1100">
              <a:solidFill>
                <a:prstClr val="black"/>
              </a:solidFill>
              <a:latin typeface="Amalia" panose="020B0504020203020204" pitchFamily="34" charset="0"/>
            </a:endParaRPr>
          </a:p>
          <a:p>
            <a:pPr>
              <a:spcAft>
                <a:spcPts val="700"/>
              </a:spcAft>
            </a:pPr>
            <a:endParaRPr lang="en-GB" sz="1100">
              <a:latin typeface="Amalia" panose="020B0504020203020204" pitchFamily="34" charset="0"/>
            </a:endParaRPr>
          </a:p>
          <a:p>
            <a:pPr>
              <a:spcAft>
                <a:spcPts val="700"/>
              </a:spcAft>
            </a:pPr>
            <a:endParaRPr lang="en-GB" sz="1100">
              <a:latin typeface="Amalia" panose="020B0504020203020204" pitchFamily="34" charset="0"/>
            </a:endParaRPr>
          </a:p>
        </p:txBody>
      </p:sp>
      <p:sp>
        <p:nvSpPr>
          <p:cNvPr id="4" name="Rectangle 2"/>
          <p:cNvSpPr>
            <a:spLocks noGrp="1"/>
          </p:cNvSpPr>
          <p:nvPr>
            <p:ph type="title"/>
          </p:nvPr>
        </p:nvSpPr>
        <p:spPr>
          <a:xfrm>
            <a:off x="634629" y="501438"/>
            <a:ext cx="10546210" cy="373750"/>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en-GB" sz="2400"/>
              <a:t>Disclaimer</a:t>
            </a:r>
            <a:endParaRPr lang="de-AT" sz="2400"/>
          </a:p>
        </p:txBody>
      </p:sp>
    </p:spTree>
    <p:extLst>
      <p:ext uri="{BB962C8B-B14F-4D97-AF65-F5344CB8AC3E}">
        <p14:creationId xmlns:p14="http://schemas.microsoft.com/office/powerpoint/2010/main" val="41074164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882" name="Rectangle 2"/>
          <p:cNvSpPr>
            <a:spLocks noGrp="1"/>
          </p:cNvSpPr>
          <p:nvPr>
            <p:ph type="title"/>
          </p:nvPr>
        </p:nvSpPr>
        <p:spPr>
          <a:xfrm>
            <a:off x="634629" y="501438"/>
            <a:ext cx="10546210" cy="373750"/>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t>Disclaimer</a:t>
            </a:r>
            <a:r>
              <a:rPr lang="de-DE" sz="2260"/>
              <a:t> </a:t>
            </a:r>
            <a:endParaRPr lang="de-AT" sz="2260"/>
          </a:p>
        </p:txBody>
      </p:sp>
      <p:sp>
        <p:nvSpPr>
          <p:cNvPr id="5754883" name="Text Box 3"/>
          <p:cNvSpPr txBox="1">
            <a:spLocks noChangeArrowheads="1"/>
          </p:cNvSpPr>
          <p:nvPr/>
        </p:nvSpPr>
        <p:spPr bwMode="auto">
          <a:xfrm>
            <a:off x="1765884" y="2206545"/>
            <a:ext cx="9919147" cy="2188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15481" tIns="57744" rIns="115481" bIns="57744">
            <a:spAutoFit/>
          </a:bodyPr>
          <a:lstStyle/>
          <a:p>
            <a:pPr algn="ctr" eaLnBrk="0" hangingPunct="0">
              <a:spcBef>
                <a:spcPct val="0"/>
              </a:spcBef>
              <a:spcAft>
                <a:spcPct val="0"/>
              </a:spcAft>
              <a:buFontTx/>
              <a:buNone/>
            </a:pPr>
            <a:endParaRPr lang="de-AT" sz="3945"/>
          </a:p>
          <a:p>
            <a:pPr algn="ctr" eaLnBrk="0" hangingPunct="0">
              <a:spcBef>
                <a:spcPct val="0"/>
              </a:spcBef>
              <a:spcAft>
                <a:spcPct val="0"/>
              </a:spcAft>
              <a:buFontTx/>
              <a:buNone/>
            </a:pPr>
            <a:endParaRPr lang="en-GB" sz="2553"/>
          </a:p>
          <a:p>
            <a:pPr algn="ctr" eaLnBrk="0" hangingPunct="0">
              <a:spcBef>
                <a:spcPct val="0"/>
              </a:spcBef>
              <a:spcAft>
                <a:spcPct val="0"/>
              </a:spcAft>
              <a:buFontTx/>
              <a:buNone/>
            </a:pPr>
            <a:endParaRPr lang="en-GB" sz="3365"/>
          </a:p>
          <a:p>
            <a:pPr algn="ctr" eaLnBrk="0" hangingPunct="0">
              <a:spcBef>
                <a:spcPct val="0"/>
              </a:spcBef>
              <a:spcAft>
                <a:spcPct val="0"/>
              </a:spcAft>
              <a:buFontTx/>
              <a:buNone/>
            </a:pPr>
            <a:endParaRPr lang="en-GB" sz="3599"/>
          </a:p>
        </p:txBody>
      </p:sp>
      <p:sp>
        <p:nvSpPr>
          <p:cNvPr id="5754884" name="Text Box 4"/>
          <p:cNvSpPr txBox="1">
            <a:spLocks noChangeArrowheads="1"/>
          </p:cNvSpPr>
          <p:nvPr/>
        </p:nvSpPr>
        <p:spPr bwMode="auto">
          <a:xfrm>
            <a:off x="513840" y="1205716"/>
            <a:ext cx="12812312" cy="3671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algn="just" defTabSz="1169755"/>
            <a:r>
              <a:rPr lang="de-DE" sz="1100">
                <a:solidFill>
                  <a:prstClr val="black"/>
                </a:solidFill>
                <a:latin typeface="Amalia" panose="020B0504020203020204" pitchFamily="34" charset="0"/>
              </a:rPr>
              <a:t>SPEZIFISCHE BESCHRÄNKUNGEN FÜR DIE VEREINIGTEN STAATEN VON AMERIKA UND KANADA: Dieses Dokument darf weder in die Vereinigten Staaten von Amerika oder nach Kanada oder in ihre jeweiligen Hoheitsgebiete oder Besitzungen übertragen oder darin verteilt werden, noch darf es an irgendeine US-amerikanische Person oder irgendeine Person mit Wohnsitz in Kanada verteilt werden, es sei denn, die Übermittlung erfolgt direkt durch die RB International </a:t>
            </a:r>
            <a:r>
              <a:rPr lang="de-DE" sz="1100" err="1">
                <a:solidFill>
                  <a:prstClr val="black"/>
                </a:solidFill>
                <a:latin typeface="Amalia" panose="020B0504020203020204" pitchFamily="34" charset="0"/>
              </a:rPr>
              <a:t>Markets</a:t>
            </a:r>
            <a:r>
              <a:rPr lang="de-DE" sz="1100">
                <a:solidFill>
                  <a:prstClr val="black"/>
                </a:solidFill>
                <a:latin typeface="Amalia" panose="020B0504020203020204" pitchFamily="34" charset="0"/>
              </a:rPr>
              <a:t> (USA) LLC, einen in den USA registrierten Broker-Dealer (‚RBIM‘), und vorbehaltlich der nachstehenden Bedingungen. </a:t>
            </a:r>
            <a:endParaRPr lang="en-GB" sz="1100">
              <a:solidFill>
                <a:prstClr val="black"/>
              </a:solidFill>
              <a:latin typeface="Amalia" panose="020B0504020203020204" pitchFamily="34" charset="0"/>
            </a:endParaRPr>
          </a:p>
          <a:p>
            <a:pPr algn="just" defTabSz="1169755"/>
            <a:r>
              <a:rPr lang="de-DE" sz="1100">
                <a:solidFill>
                  <a:prstClr val="black"/>
                </a:solidFill>
                <a:latin typeface="Amalia" panose="020B0504020203020204" pitchFamily="34" charset="0"/>
              </a:rPr>
              <a:t>SPEZIFISCHE INFORMATIONEN FÜR DIE VEREINIGTEN STAATEN VON AMERIKA UND KANADA: Dieses Research-Dokument ist ausschließlich für institutionelle Investoren bestimmt und unterliegt nicht allen Unabhängigkeits- und Offenlegungsstandards, die für die Erstellung von Research-Unterlagen für Kleinanleger/Privatanleger anwendbar sind. Dieser Bericht wurde Ihnen durch die RB International </a:t>
            </a:r>
            <a:r>
              <a:rPr lang="de-DE" sz="1100" err="1">
                <a:solidFill>
                  <a:prstClr val="black"/>
                </a:solidFill>
                <a:latin typeface="Amalia" panose="020B0504020203020204" pitchFamily="34" charset="0"/>
              </a:rPr>
              <a:t>Markets</a:t>
            </a:r>
            <a:r>
              <a:rPr lang="de-DE" sz="1100">
                <a:solidFill>
                  <a:prstClr val="black"/>
                </a:solidFill>
                <a:latin typeface="Amalia" panose="020B0504020203020204" pitchFamily="34" charset="0"/>
              </a:rPr>
              <a:t> (USA) LLC (abgekürzt „RBIM“) , einen in den US registrierten Broker-Dealer übermittelt, wurde jedoch von unserem nicht-US-amerikanischen Verbundunternehmen Raiffeisen Bank International AG („RBI“) erstellt. Jeder Auftrag zum Kauf oder Verkauf von Wertpapieren, die Gegenstand dieses Berichtes sind, müssen bei der RBIM platziert werden. Die RBIM ist unter folgender Adresse erreichbar: 1133 Avenue </a:t>
            </a:r>
            <a:r>
              <a:rPr lang="de-DE" sz="1100" err="1">
                <a:solidFill>
                  <a:prstClr val="black"/>
                </a:solidFill>
                <a:latin typeface="Amalia" panose="020B0504020203020204" pitchFamily="34" charset="0"/>
              </a:rPr>
              <a:t>of</a:t>
            </a:r>
            <a:r>
              <a:rPr lang="de-DE" sz="1100">
                <a:solidFill>
                  <a:prstClr val="black"/>
                </a:solidFill>
                <a:latin typeface="Amalia" panose="020B0504020203020204" pitchFamily="34" charset="0"/>
              </a:rPr>
              <a:t> </a:t>
            </a:r>
            <a:r>
              <a:rPr lang="de-DE" sz="1100" err="1">
                <a:solidFill>
                  <a:prstClr val="black"/>
                </a:solidFill>
                <a:latin typeface="Amalia" panose="020B0504020203020204" pitchFamily="34" charset="0"/>
              </a:rPr>
              <a:t>the</a:t>
            </a:r>
            <a:r>
              <a:rPr lang="de-DE" sz="1100">
                <a:solidFill>
                  <a:prstClr val="black"/>
                </a:solidFill>
                <a:latin typeface="Amalia" panose="020B0504020203020204" pitchFamily="34" charset="0"/>
              </a:rPr>
              <a:t> </a:t>
            </a:r>
            <a:r>
              <a:rPr lang="de-DE" sz="1100" err="1">
                <a:solidFill>
                  <a:prstClr val="black"/>
                </a:solidFill>
                <a:latin typeface="Amalia" panose="020B0504020203020204" pitchFamily="34" charset="0"/>
              </a:rPr>
              <a:t>Americas</a:t>
            </a:r>
            <a:r>
              <a:rPr lang="de-DE" sz="1100">
                <a:solidFill>
                  <a:prstClr val="black"/>
                </a:solidFill>
                <a:latin typeface="Amalia" panose="020B0504020203020204" pitchFamily="34" charset="0"/>
              </a:rPr>
              <a:t>, 16th Floor, New York, NY 10036, 212-600-2588. Dieses Dokument wurde außerhalb der Vereinigten Staaten von einem oder mehreren Analysten erstellt, für die möglicherweise nicht Vorschriften hinsichtlich der Erstellung von Berichten und der Unabhängigkeit von Forschungsanalysten galten, die mit jenen vergleichbar sind, die in den Vereinigten Staaten in Kraft sind. Der/die Analyst/en, der/die dieses Dokument erstellte/n, (i) sind nicht bei der Financial Industry </a:t>
            </a:r>
            <a:r>
              <a:rPr lang="de-DE" sz="1100" err="1">
                <a:solidFill>
                  <a:prstClr val="black"/>
                </a:solidFill>
                <a:latin typeface="Amalia" panose="020B0504020203020204" pitchFamily="34" charset="0"/>
              </a:rPr>
              <a:t>Regulatory</a:t>
            </a:r>
            <a:r>
              <a:rPr lang="de-DE" sz="1100">
                <a:solidFill>
                  <a:prstClr val="black"/>
                </a:solidFill>
                <a:latin typeface="Amalia" panose="020B0504020203020204" pitchFamily="34" charset="0"/>
              </a:rPr>
              <a:t> Authority (FINRA) in den Vereinigten Staaten als Research-Analysten registriert oder qualifiziert und (ii) dürfen keine assoziierten Personen der RBIM sein und unterliegen daher nicht den Vorschriften der FINRA, inklusive der Vorschriften bezüglich des Verhaltens oder der Unabhängigkeit von Research-Analysten.</a:t>
            </a:r>
            <a:endParaRPr lang="en-GB" sz="1100">
              <a:solidFill>
                <a:prstClr val="black"/>
              </a:solidFill>
              <a:latin typeface="Amalia" panose="020B0504020203020204" pitchFamily="34" charset="0"/>
            </a:endParaRPr>
          </a:p>
          <a:p>
            <a:pPr algn="just" defTabSz="1169755"/>
            <a:r>
              <a:rPr lang="de-DE" sz="1100">
                <a:solidFill>
                  <a:prstClr val="black"/>
                </a:solidFill>
                <a:latin typeface="Amalia" panose="020B0504020203020204" pitchFamily="34" charset="0"/>
              </a:rPr>
              <a:t>Die in diesem Bericht enthaltenen Meinungen, Schätzungen und Prognosen sind nur zum Datum dieses Berichtes jene der RBI und können ohne Vorankündigung geändert werden. Die in diesem Bericht enthaltenen Informationen wurden von der RBI von als zuverlässig erachteten Quellen zusammengestellt, doch die RBI, ihre verbundenen Unternehmen oder irgendeine andere Person geben keinerlei ausdrückliche oder stillschweigende Zusicherung oder Gewährleistung bezüglich der Genauigkeit, Vollständigkeit und Richtigkeit des Berichtes. Jene Wertpapiere, die nicht in den Vereinigten Staaten registriert sind, dürfen weder innerhalb der Vereinigten Staaten noch an eine US-amerikanische Person direkt oder indirekt angeboten oder verkauft werden (im Sinne der Regulation S des Securities Act </a:t>
            </a:r>
            <a:r>
              <a:rPr lang="de-DE" sz="1100" err="1">
                <a:solidFill>
                  <a:prstClr val="black"/>
                </a:solidFill>
                <a:latin typeface="Amalia" panose="020B0504020203020204" pitchFamily="34" charset="0"/>
              </a:rPr>
              <a:t>of</a:t>
            </a:r>
            <a:r>
              <a:rPr lang="de-DE" sz="1100">
                <a:solidFill>
                  <a:prstClr val="black"/>
                </a:solidFill>
                <a:latin typeface="Amalia" panose="020B0504020203020204" pitchFamily="34" charset="0"/>
              </a:rPr>
              <a:t> 1933, abgekürzt „Wertpapiergesetz“), es sei denn, es liegt eine Ausnahme gemäß des Wertpapiergesetzes vor. Dieser Bericht stellt weder ein Angebot zum Kauf oder Verkauf eines Wertpapiers im Sinne von Abschnitt 5 des Wertpapiergesetzes dar, noch bildet dieser Bericht oder irgendeine hierin enthaltene Information die Grundlage eines Vertrages oder einer Verpflichtung irgendeiner Art welcher in diesem Zusammenhang als zuverlässig erachtet werden kann. Dieser Bericht stellt lediglich allgemeine Informationen zur Verfügung. In Kanada darf er nur an Personen mit Wohnsitz in Kanada verteilt werden, die aufgrund ihrer Befreiung von der Prospektpflicht gemäß den im jeweiligen Territorium bzw. der jeweiligen Provinz geltenden wertpapierrechtlichen Bestimmungen berechtigt sind, Abschlüsse in Zusammenhang mit den hierin beschriebenen Wertpapieren zu tätigen. </a:t>
            </a:r>
            <a:endParaRPr lang="en-GB" sz="1100">
              <a:solidFill>
                <a:prstClr val="black"/>
              </a:solidFill>
              <a:latin typeface="Amalia" panose="020B0504020203020204" pitchFamily="34" charset="0"/>
            </a:endParaRPr>
          </a:p>
        </p:txBody>
      </p:sp>
    </p:spTree>
    <p:extLst>
      <p:ext uri="{BB962C8B-B14F-4D97-AF65-F5344CB8AC3E}">
        <p14:creationId xmlns:p14="http://schemas.microsoft.com/office/powerpoint/2010/main" val="57943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524096" y="1185079"/>
            <a:ext cx="12493003" cy="321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defTabSz="1169755">
              <a:spcAft>
                <a:spcPts val="1368"/>
              </a:spcAft>
            </a:pPr>
            <a:r>
              <a:rPr lang="de-AT" sz="1100">
                <a:solidFill>
                  <a:prstClr val="black"/>
                </a:solidFill>
                <a:latin typeface="Amalia" panose="020B0504020203020204" pitchFamily="34" charset="0"/>
              </a:rPr>
              <a:t>EU-VERORDNUNG NR. 833/2014 ÜBER RESTRIKTIVE MASSNAHMEN ANGESICHTS DER HANDLUNGEN RUSSLANDS, DIE DIE LAGE IN DER UKRAINE DESTABILISIEREN</a:t>
            </a:r>
          </a:p>
          <a:p>
            <a:pPr defTabSz="1169755">
              <a:spcAft>
                <a:spcPts val="1368"/>
              </a:spcAft>
            </a:pPr>
            <a:r>
              <a:rPr lang="de-AT" sz="1100">
                <a:solidFill>
                  <a:prstClr val="black"/>
                </a:solidFill>
                <a:latin typeface="Amalia" panose="020B0504020203020204" pitchFamily="34" charset="0"/>
              </a:rPr>
              <a:t> Bitte beachten Sie, dass sich die Analysen und Empfehlungen nur auf Finanzinstrumente beziehen, die nicht von Sanktionen gemäß EU-Verordnung Nr. 833/2014 über restriktive Maßnahmen angesichts der Handlungen Russlands, die die Lage in der Ukraine destabilisieren, in der geltenden Fassung betroffen sind. Das sind Finanzinstrumente, die vor dem 1. August 2014 begeben wurden. </a:t>
            </a:r>
          </a:p>
          <a:p>
            <a:pPr defTabSz="1169755">
              <a:spcAft>
                <a:spcPts val="1368"/>
              </a:spcAft>
            </a:pPr>
            <a:r>
              <a:rPr lang="de-AT" sz="1100">
                <a:solidFill>
                  <a:prstClr val="black"/>
                </a:solidFill>
                <a:latin typeface="Amalia" panose="020B0504020203020204" pitchFamily="34" charset="0"/>
              </a:rPr>
              <a:t> Wir machen Sie darauf aufmerksam, dass der Erwerb von Finanzinstrumenten mit einer Laufzeit von über 30 Tagen, die nach dem 31. Juli 2014 begeben wurden, gemäß EU-Verordnung Nr. 833/2014 über restriktive Maßnahmen angesichts der Handlungen Russlands, die die Lage in der Ukraine destabilisieren, in der geltenden Fassung verboten ist. Zu solchen verbotenen Finanzinstrumenten wird nicht Stellung genommen.</a:t>
            </a:r>
          </a:p>
          <a:p>
            <a:pPr defTabSz="1169755">
              <a:spcAft>
                <a:spcPts val="1368"/>
              </a:spcAft>
            </a:pPr>
            <a:r>
              <a:rPr lang="de-DE" sz="1100">
                <a:solidFill>
                  <a:prstClr val="black"/>
                </a:solidFill>
                <a:latin typeface="Amalia" panose="020B0504020203020204" pitchFamily="34" charset="0"/>
              </a:rPr>
              <a:t>HINWEIS FÜR DAS FÜRSTENTUM LIECHTENSTEIN: Die RICHTLINIE 2003/125/EG DER KOMMISSION vom 22. Dezember 2003 zur Durchführung der Richtlinie 2003/6/EG des Europäischen Parlaments und des Rates in Bezug auf die sachgerechte Darbietung von Anlageempfehlungen und die Offenlegung von Interessenkonflikten wurde im Fürstentum Liechtenstein durch die Finanzanalyse-Marktmissbrauchs-Verordnung in nationales Recht umgesetzt.</a:t>
            </a:r>
            <a:endParaRPr lang="en-GB" sz="1100">
              <a:solidFill>
                <a:prstClr val="black"/>
              </a:solidFill>
              <a:latin typeface="Amalia" panose="020B0504020203020204" pitchFamily="34" charset="0"/>
            </a:endParaRPr>
          </a:p>
          <a:p>
            <a:pPr defTabSz="1169755">
              <a:spcAft>
                <a:spcPts val="1368"/>
              </a:spcAft>
            </a:pPr>
            <a:r>
              <a:rPr lang="de-DE" sz="1100">
                <a:solidFill>
                  <a:prstClr val="black"/>
                </a:solidFill>
                <a:latin typeface="Amalia" panose="020B0504020203020204" pitchFamily="34" charset="0"/>
              </a:rPr>
              <a:t>Sollte sich eine Bestimmung dieses Disclaimers unter dem jeweils anwendbaren Recht als rechtswidrig, unwirksam oder nicht durchsetzbar herausstellen, ist die betreffende Bestimmung, soweit sie von den übrigen Bestimmungen trennbar ist, so zu behandeln, als wäre sie nicht Bestandteil dieses Disclaimers; in keinem Fall berührt sie die Rechtmäßigkeit, Wirksamkeit oder Durchsetzbarkeit der übrigen Bestimmungen. </a:t>
            </a:r>
            <a:endParaRPr lang="en-GB" sz="1100">
              <a:solidFill>
                <a:prstClr val="black"/>
              </a:solidFill>
              <a:latin typeface="Amalia" panose="020B0504020203020204" pitchFamily="34" charset="0"/>
            </a:endParaRPr>
          </a:p>
          <a:p>
            <a:pPr algn="just">
              <a:spcAft>
                <a:spcPts val="756"/>
              </a:spcAft>
            </a:pPr>
            <a:endParaRPr lang="en-GB" sz="1100">
              <a:latin typeface="Amalia" panose="020B0504020203020204" pitchFamily="34" charset="0"/>
            </a:endParaRPr>
          </a:p>
        </p:txBody>
      </p:sp>
      <p:sp>
        <p:nvSpPr>
          <p:cNvPr id="4" name="Rectangle 2"/>
          <p:cNvSpPr>
            <a:spLocks noGrp="1"/>
          </p:cNvSpPr>
          <p:nvPr>
            <p:ph type="title"/>
          </p:nvPr>
        </p:nvSpPr>
        <p:spPr>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t>Disclaimer</a:t>
            </a:r>
            <a:r>
              <a:rPr lang="de-DE"/>
              <a:t> </a:t>
            </a:r>
            <a:endParaRPr lang="de-AT"/>
          </a:p>
        </p:txBody>
      </p:sp>
    </p:spTree>
    <p:extLst>
      <p:ext uri="{BB962C8B-B14F-4D97-AF65-F5344CB8AC3E}">
        <p14:creationId xmlns:p14="http://schemas.microsoft.com/office/powerpoint/2010/main" val="29760672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882" name="Rectangle 2"/>
          <p:cNvSpPr>
            <a:spLocks noGrp="1"/>
          </p:cNvSpPr>
          <p:nvPr>
            <p:ph type="title"/>
          </p:nvPr>
        </p:nvSpPr>
        <p:spPr>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t>Impressum</a:t>
            </a:r>
            <a:endParaRPr lang="de-AT" sz="2400"/>
          </a:p>
        </p:txBody>
      </p:sp>
      <p:sp>
        <p:nvSpPr>
          <p:cNvPr id="5754883" name="Text Box 3"/>
          <p:cNvSpPr txBox="1">
            <a:spLocks noChangeArrowheads="1"/>
          </p:cNvSpPr>
          <p:nvPr/>
        </p:nvSpPr>
        <p:spPr bwMode="auto">
          <a:xfrm>
            <a:off x="1765884" y="2206545"/>
            <a:ext cx="9919147" cy="2188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15481" tIns="57744" rIns="115481" bIns="57744">
            <a:spAutoFit/>
          </a:bodyPr>
          <a:lstStyle/>
          <a:p>
            <a:pPr algn="ctr" eaLnBrk="0" hangingPunct="0">
              <a:spcBef>
                <a:spcPct val="0"/>
              </a:spcBef>
              <a:spcAft>
                <a:spcPct val="0"/>
              </a:spcAft>
              <a:buFontTx/>
              <a:buNone/>
            </a:pPr>
            <a:endParaRPr lang="de-AT" sz="3945"/>
          </a:p>
          <a:p>
            <a:pPr algn="ctr" eaLnBrk="0" hangingPunct="0">
              <a:spcBef>
                <a:spcPct val="0"/>
              </a:spcBef>
              <a:spcAft>
                <a:spcPct val="0"/>
              </a:spcAft>
              <a:buFontTx/>
              <a:buNone/>
            </a:pPr>
            <a:endParaRPr lang="en-GB" sz="2553"/>
          </a:p>
          <a:p>
            <a:pPr algn="ctr" eaLnBrk="0" hangingPunct="0">
              <a:spcBef>
                <a:spcPct val="0"/>
              </a:spcBef>
              <a:spcAft>
                <a:spcPct val="0"/>
              </a:spcAft>
              <a:buFontTx/>
              <a:buNone/>
            </a:pPr>
            <a:endParaRPr lang="en-GB" sz="3365"/>
          </a:p>
          <a:p>
            <a:pPr algn="ctr" eaLnBrk="0" hangingPunct="0">
              <a:spcBef>
                <a:spcPct val="0"/>
              </a:spcBef>
              <a:spcAft>
                <a:spcPct val="0"/>
              </a:spcAft>
              <a:buFontTx/>
              <a:buNone/>
            </a:pPr>
            <a:endParaRPr lang="en-GB" sz="3599"/>
          </a:p>
        </p:txBody>
      </p:sp>
      <p:sp>
        <p:nvSpPr>
          <p:cNvPr id="5754884" name="Text Box 4"/>
          <p:cNvSpPr txBox="1">
            <a:spLocks noChangeArrowheads="1"/>
          </p:cNvSpPr>
          <p:nvPr/>
        </p:nvSpPr>
        <p:spPr bwMode="auto">
          <a:xfrm>
            <a:off x="527620" y="1208560"/>
            <a:ext cx="12387713" cy="41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algn="just">
              <a:spcAft>
                <a:spcPts val="743"/>
              </a:spcAft>
            </a:pPr>
            <a:r>
              <a:rPr lang="de-AT" sz="1100">
                <a:solidFill>
                  <a:prstClr val="black"/>
                </a:solidFill>
                <a:latin typeface="Amalia" panose="020B0504020203020204" pitchFamily="34" charset="0"/>
              </a:rPr>
              <a:t>Informationen gemäß § 5 E-Commerce Gesetz</a:t>
            </a:r>
          </a:p>
          <a:p>
            <a:pPr algn="just">
              <a:spcAft>
                <a:spcPts val="743"/>
              </a:spcAft>
            </a:pPr>
            <a:r>
              <a:rPr lang="de-AT" sz="1100">
                <a:solidFill>
                  <a:prstClr val="black"/>
                </a:solidFill>
                <a:latin typeface="Amalia" panose="020B0504020203020204" pitchFamily="34" charset="0"/>
              </a:rPr>
              <a:t>Raiffeisen Bank International AG</a:t>
            </a:r>
          </a:p>
          <a:p>
            <a:pPr algn="just">
              <a:spcAft>
                <a:spcPts val="743"/>
              </a:spcAft>
            </a:pPr>
            <a:r>
              <a:rPr lang="de-AT" sz="1100">
                <a:solidFill>
                  <a:prstClr val="black"/>
                </a:solidFill>
                <a:latin typeface="Amalia" panose="020B0504020203020204" pitchFamily="34" charset="0"/>
              </a:rPr>
              <a:t>Firmensitz: Am Stadtpark 9, 1030 Wien</a:t>
            </a:r>
          </a:p>
          <a:p>
            <a:pPr algn="just">
              <a:spcAft>
                <a:spcPts val="743"/>
              </a:spcAft>
            </a:pPr>
            <a:r>
              <a:rPr lang="de-AT" sz="1100">
                <a:solidFill>
                  <a:prstClr val="black"/>
                </a:solidFill>
                <a:latin typeface="Amalia" panose="020B0504020203020204" pitchFamily="34" charset="0"/>
              </a:rPr>
              <a:t>Postanschrift: 1010 Wien, Postfach 50; Telefon: +43-1-71707-0; Fax: + 43-1-71707- 1848 </a:t>
            </a:r>
          </a:p>
          <a:p>
            <a:pPr algn="just">
              <a:spcAft>
                <a:spcPts val="743"/>
              </a:spcAft>
            </a:pPr>
            <a:r>
              <a:rPr lang="de-AT" sz="1100">
                <a:solidFill>
                  <a:prstClr val="black"/>
                </a:solidFill>
                <a:latin typeface="Amalia" panose="020B0504020203020204" pitchFamily="34" charset="0"/>
              </a:rPr>
              <a:t>Firmenbuchnummer: FN 122119m beim Handelsgericht Wien </a:t>
            </a:r>
          </a:p>
          <a:p>
            <a:pPr algn="just">
              <a:spcAft>
                <a:spcPts val="743"/>
              </a:spcAft>
            </a:pPr>
            <a:r>
              <a:rPr lang="de-AT" sz="1100">
                <a:solidFill>
                  <a:prstClr val="black"/>
                </a:solidFill>
                <a:latin typeface="Amalia" panose="020B0504020203020204" pitchFamily="34" charset="0"/>
              </a:rPr>
              <a:t>Umsatzsteuer-Identifikationsnummer: UID ATU 57531200 </a:t>
            </a:r>
          </a:p>
          <a:p>
            <a:pPr algn="just">
              <a:spcAft>
                <a:spcPts val="743"/>
              </a:spcAft>
            </a:pPr>
            <a:r>
              <a:rPr lang="de-AT" sz="1100">
                <a:solidFill>
                  <a:prstClr val="black"/>
                </a:solidFill>
                <a:latin typeface="Amalia" panose="020B0504020203020204" pitchFamily="34" charset="0"/>
              </a:rPr>
              <a:t>Österreichisches Datenverarbeitungsregister: Datenverarbeitungsregisternummer (DVR): 4002771 </a:t>
            </a:r>
          </a:p>
          <a:p>
            <a:pPr algn="just">
              <a:spcAft>
                <a:spcPts val="743"/>
              </a:spcAft>
            </a:pPr>
            <a:r>
              <a:rPr lang="en-US" sz="1100">
                <a:solidFill>
                  <a:prstClr val="black"/>
                </a:solidFill>
                <a:latin typeface="Amalia" panose="020B0504020203020204" pitchFamily="34" charset="0"/>
              </a:rPr>
              <a:t>S.W.I.F.T.-Code: RZBA AT WW </a:t>
            </a:r>
            <a:endParaRPr lang="de-AT" sz="1100">
              <a:solidFill>
                <a:prstClr val="black"/>
              </a:solidFill>
              <a:latin typeface="Amalia" panose="020B0504020203020204" pitchFamily="34" charset="0"/>
            </a:endParaRPr>
          </a:p>
          <a:p>
            <a:pPr algn="just">
              <a:spcAft>
                <a:spcPts val="743"/>
              </a:spcAft>
            </a:pPr>
            <a:r>
              <a:rPr lang="de-AT" sz="1100">
                <a:solidFill>
                  <a:prstClr val="black"/>
                </a:solidFill>
                <a:latin typeface="Amalia" panose="020B0504020203020204" pitchFamily="34" charset="0"/>
              </a:rPr>
              <a:t>Aufsichtsbehörden: Als ein Kreditinstitut gemäß § 1 Bankwesengesetz (BWG) unterliegt die Raiffeisen Bank International AG (RBI) der Aufsicht der Finanzmarktaufsicht (FMA) und der </a:t>
            </a:r>
            <a:r>
              <a:rPr lang="de-AT" sz="1100" err="1">
                <a:solidFill>
                  <a:prstClr val="black"/>
                </a:solidFill>
                <a:latin typeface="Amalia" panose="020B0504020203020204" pitchFamily="34" charset="0"/>
              </a:rPr>
              <a:t>Oesterreichischen</a:t>
            </a:r>
            <a:r>
              <a:rPr lang="de-AT" sz="1100">
                <a:solidFill>
                  <a:prstClr val="black"/>
                </a:solidFill>
                <a:latin typeface="Amalia" panose="020B0504020203020204" pitchFamily="34" charset="0"/>
              </a:rPr>
              <a:t> Nationalbank. Darüber hinaus unterliegt die RBI der behördlichen Aufsicht der Europäischen Zentralbank (EZB), die diese innerhalb eines Einheitlichen Aufsichtsmechanismus (Single </a:t>
            </a:r>
            <a:r>
              <a:rPr lang="de-AT" sz="1100" err="1">
                <a:solidFill>
                  <a:prstClr val="black"/>
                </a:solidFill>
                <a:latin typeface="Amalia" panose="020B0504020203020204" pitchFamily="34" charset="0"/>
              </a:rPr>
              <a:t>Supervisory</a:t>
            </a:r>
            <a:r>
              <a:rPr lang="de-AT" sz="1100">
                <a:solidFill>
                  <a:prstClr val="black"/>
                </a:solidFill>
                <a:latin typeface="Amalia" panose="020B0504020203020204" pitchFamily="34" charset="0"/>
              </a:rPr>
              <a:t> </a:t>
            </a:r>
            <a:r>
              <a:rPr lang="de-AT" sz="1100" err="1">
                <a:solidFill>
                  <a:prstClr val="black"/>
                </a:solidFill>
                <a:latin typeface="Amalia" panose="020B0504020203020204" pitchFamily="34" charset="0"/>
              </a:rPr>
              <a:t>Mechanism</a:t>
            </a:r>
            <a:r>
              <a:rPr lang="de-AT" sz="1100">
                <a:solidFill>
                  <a:prstClr val="black"/>
                </a:solidFill>
                <a:latin typeface="Amalia" panose="020B0504020203020204" pitchFamily="34" charset="0"/>
              </a:rPr>
              <a:t> – SSM) wahrnimmt, der aus der EZB und den nationalen zuständigen Behörden besteht (</a:t>
            </a:r>
            <a:r>
              <a:rPr lang="de-AT" sz="1100" u="sng">
                <a:solidFill>
                  <a:prstClr val="black"/>
                </a:solidFill>
                <a:latin typeface="Amalia" panose="020B0504020203020204" pitchFamily="34" charset="0"/>
                <a:hlinkClick r:id="rId3"/>
              </a:rPr>
              <a:t>Verordnung (EU) Nr. 1024/2013 des Rates</a:t>
            </a:r>
            <a:r>
              <a:rPr lang="de-AT" sz="1100">
                <a:solidFill>
                  <a:prstClr val="black"/>
                </a:solidFill>
                <a:latin typeface="Amalia" panose="020B0504020203020204" pitchFamily="34" charset="0"/>
              </a:rPr>
              <a:t> – SSM-Verordnung). Verweise auf gesetzliche Normen beziehen sich auf solche der Republik Österreich, soweit nicht ausdrücklich anders angeführt.</a:t>
            </a:r>
          </a:p>
          <a:p>
            <a:pPr algn="just">
              <a:spcAft>
                <a:spcPts val="743"/>
              </a:spcAft>
            </a:pPr>
            <a:r>
              <a:rPr lang="de-AT" sz="1100">
                <a:solidFill>
                  <a:prstClr val="black"/>
                </a:solidFill>
                <a:latin typeface="Amalia" panose="020B0504020203020204" pitchFamily="34" charset="0"/>
              </a:rPr>
              <a:t>Mitgliedschaft: Die Raiffeisen Bank International AG ist Mitglied der Wirtschaftskammer Österreich, Bundessparte Bank und Versicherung, Fachverband der Raiffeisenbanken.</a:t>
            </a:r>
          </a:p>
          <a:p>
            <a:pPr algn="just">
              <a:spcAft>
                <a:spcPts val="743"/>
              </a:spcAft>
            </a:pPr>
            <a:r>
              <a:rPr lang="de-AT" sz="1100">
                <a:solidFill>
                  <a:prstClr val="black"/>
                </a:solidFill>
                <a:latin typeface="Amalia" panose="020B0504020203020204" pitchFamily="34" charset="0"/>
              </a:rPr>
              <a:t>Angaben nach dem österreichischen Mediengesetz </a:t>
            </a:r>
          </a:p>
          <a:p>
            <a:pPr algn="just">
              <a:spcAft>
                <a:spcPts val="743"/>
              </a:spcAft>
            </a:pPr>
            <a:r>
              <a:rPr lang="de-AT" sz="1100">
                <a:solidFill>
                  <a:prstClr val="black"/>
                </a:solidFill>
                <a:latin typeface="Amalia" panose="020B0504020203020204" pitchFamily="34" charset="0"/>
              </a:rPr>
              <a:t> Herausgeber und Redaktion dieser Publikation: Raiffeisen Bank International AG, Am Stadtpark 9, A-1030 Wien </a:t>
            </a:r>
          </a:p>
          <a:p>
            <a:pPr algn="just">
              <a:spcAft>
                <a:spcPts val="743"/>
              </a:spcAft>
            </a:pPr>
            <a:r>
              <a:rPr lang="de-AT" sz="1100">
                <a:solidFill>
                  <a:prstClr val="black"/>
                </a:solidFill>
                <a:latin typeface="Amalia" panose="020B0504020203020204" pitchFamily="34" charset="0"/>
              </a:rPr>
              <a:t>Medieninhaber dieser Publikation: Raiffeisen Research – Verein zur Verbreitung von volkswirtschaftlichen Analysen und Finanzmarktanalysen</a:t>
            </a:r>
          </a:p>
          <a:p>
            <a:pPr>
              <a:spcAft>
                <a:spcPts val="743"/>
              </a:spcAft>
            </a:pPr>
            <a:r>
              <a:rPr lang="de-AT" sz="1100">
                <a:solidFill>
                  <a:prstClr val="black"/>
                </a:solidFill>
                <a:latin typeface="Amalia" panose="020B0504020203020204" pitchFamily="34" charset="0"/>
              </a:rPr>
              <a:t>Am Stadtpark 9, A-1030 Wien </a:t>
            </a:r>
          </a:p>
        </p:txBody>
      </p:sp>
    </p:spTree>
    <p:extLst>
      <p:ext uri="{BB962C8B-B14F-4D97-AF65-F5344CB8AC3E}">
        <p14:creationId xmlns:p14="http://schemas.microsoft.com/office/powerpoint/2010/main" val="902272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545311" y="1220949"/>
            <a:ext cx="12551257" cy="3035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nchor="t">
            <a:spAutoFit/>
          </a:bodyPr>
          <a:lstStyle/>
          <a:p>
            <a:pPr>
              <a:spcAft>
                <a:spcPts val="743"/>
              </a:spcAft>
            </a:pPr>
            <a:r>
              <a:rPr lang="de-AT" sz="1100" b="1" dirty="0">
                <a:latin typeface="Amalia"/>
              </a:rPr>
              <a:t>Vorstand von Raiffeisen Research – Verein zur Verbreitung von volkswirtschaftlichen Analysen und Finanzmarktanalysen:</a:t>
            </a:r>
            <a:br>
              <a:rPr lang="de-AT" sz="1100" dirty="0">
                <a:latin typeface="Amalia" panose="020B0504020203020204" pitchFamily="34" charset="0"/>
              </a:rPr>
            </a:br>
            <a:r>
              <a:rPr lang="de-AT" sz="1100" dirty="0">
                <a:latin typeface="Amalia"/>
              </a:rPr>
              <a:t>Mag. Peter </a:t>
            </a:r>
            <a:r>
              <a:rPr lang="de-AT" sz="1100" dirty="0" err="1">
                <a:latin typeface="Amalia"/>
              </a:rPr>
              <a:t>Brezinschek</a:t>
            </a:r>
            <a:r>
              <a:rPr lang="de-AT" sz="1100" dirty="0">
                <a:latin typeface="Amalia"/>
              </a:rPr>
              <a:t> (Obmann), Mag. Helge Rechberger (Obmann-</a:t>
            </a:r>
            <a:r>
              <a:rPr lang="de-AT" sz="1100" dirty="0" err="1">
                <a:latin typeface="Amalia"/>
              </a:rPr>
              <a:t>Stv</a:t>
            </a:r>
            <a:r>
              <a:rPr lang="de-AT" sz="1100" dirty="0">
                <a:latin typeface="Amalia"/>
              </a:rPr>
              <a:t>.)  </a:t>
            </a:r>
          </a:p>
          <a:p>
            <a:pPr>
              <a:spcAft>
                <a:spcPts val="743"/>
              </a:spcAft>
            </a:pPr>
            <a:r>
              <a:rPr lang="de-AT" sz="1100" dirty="0">
                <a:latin typeface="Amalia"/>
              </a:rPr>
              <a:t>Raiffeisen Research – Verein zur Verbreitung von volkswirtschaftlichen Analysen und Finanzmarktanalysen ist als behördlich registrierter Verein konstituiert. Zweck und Tätigkeit des Vereins ist unter anderem die Verbreitung von Analysen, Daten, Prognosen und Berichten und ähnlichen Publikationen bezogen auf die österreichische und internationale Volkswirtschaft und den Finanzmarkt.    </a:t>
            </a:r>
            <a:endParaRPr lang="de-AT" sz="1100" dirty="0">
              <a:latin typeface="Amalia" panose="020B0504020203020204" pitchFamily="34" charset="0"/>
            </a:endParaRPr>
          </a:p>
          <a:p>
            <a:pPr>
              <a:spcAft>
                <a:spcPts val="743"/>
              </a:spcAft>
            </a:pPr>
            <a:r>
              <a:rPr lang="de-AT" sz="1100" b="1" dirty="0">
                <a:latin typeface="Amalia"/>
              </a:rPr>
              <a:t>Grundlegende inhaltliche Richtung dieser Publikation: </a:t>
            </a:r>
            <a:r>
              <a:rPr lang="de-AT" sz="1100" dirty="0">
                <a:latin typeface="Amalia"/>
              </a:rPr>
              <a:t>Analyse zu Volkswirtschaft, Zinsen und Währungen, Staatsanleihen und Unternehmensanleihen, Aktien sowie Rohstoffen mit den regionalen Schwerpunkten Eurozone sowie Zentral- und Osteuropa unter Berücksichtigung der globalen Märkte.  </a:t>
            </a:r>
            <a:endParaRPr lang="de-AT" sz="1100" dirty="0">
              <a:latin typeface="Amalia" panose="020B0504020203020204" pitchFamily="34" charset="0"/>
            </a:endParaRPr>
          </a:p>
          <a:p>
            <a:pPr>
              <a:spcAft>
                <a:spcPts val="743"/>
              </a:spcAft>
            </a:pPr>
            <a:r>
              <a:rPr lang="de-AT" sz="1100" dirty="0">
                <a:latin typeface="Amalia"/>
              </a:rPr>
              <a:t>Die Analyse erfolgt unter Einsatz der unterschiedlichen Analyse-Ansätze: Fundamentaler Analyse, quantitativer Analyse und/oder technischer Analyse. </a:t>
            </a:r>
            <a:endParaRPr lang="de-AT" sz="1100" dirty="0">
              <a:latin typeface="Amalia" panose="020B0504020203020204" pitchFamily="34" charset="0"/>
            </a:endParaRPr>
          </a:p>
          <a:p>
            <a:pPr>
              <a:spcAft>
                <a:spcPts val="743"/>
              </a:spcAft>
            </a:pPr>
            <a:r>
              <a:rPr lang="de-AT" sz="1100" b="1" dirty="0">
                <a:latin typeface="Amalia"/>
              </a:rPr>
              <a:t>Hersteller dieser Publikation: </a:t>
            </a:r>
            <a:r>
              <a:rPr lang="de-AT" sz="1100" dirty="0">
                <a:latin typeface="Amalia"/>
              </a:rPr>
              <a:t>Raiffeisen Bank International AG, Am Stadtpark 9, A-1030 Wien</a:t>
            </a:r>
          </a:p>
          <a:p>
            <a:pPr>
              <a:spcAft>
                <a:spcPts val="743"/>
              </a:spcAft>
            </a:pPr>
            <a:endParaRPr lang="de-AT" sz="1100" dirty="0">
              <a:solidFill>
                <a:prstClr val="black"/>
              </a:solidFill>
              <a:latin typeface="Amalia" panose="020B0504020203020204" pitchFamily="34" charset="0"/>
            </a:endParaRPr>
          </a:p>
          <a:p>
            <a:pPr>
              <a:spcAft>
                <a:spcPts val="743"/>
              </a:spcAft>
            </a:pPr>
            <a:endParaRPr lang="de-AT" sz="1100" dirty="0">
              <a:solidFill>
                <a:prstClr val="black"/>
              </a:solidFill>
              <a:latin typeface="Amalia" panose="020B0504020203020204" pitchFamily="34" charset="0"/>
            </a:endParaRPr>
          </a:p>
          <a:p>
            <a:pPr>
              <a:spcAft>
                <a:spcPts val="743"/>
              </a:spcAft>
            </a:pPr>
            <a:endParaRPr lang="de-AT" sz="1100" b="1" dirty="0">
              <a:solidFill>
                <a:prstClr val="black"/>
              </a:solidFill>
              <a:latin typeface="Amalia" panose="020B0504020203020204" pitchFamily="34" charset="0"/>
            </a:endParaRPr>
          </a:p>
          <a:p>
            <a:pPr defTabSz="1168089"/>
            <a:r>
              <a:rPr lang="de-AT" sz="1100" b="1" dirty="0">
                <a:latin typeface="Amalia"/>
              </a:rPr>
              <a:t>Editor: Matthias Reith Fertiggestellt</a:t>
            </a:r>
            <a:r>
              <a:rPr lang="de-AT" sz="1100" b="1">
                <a:latin typeface="Amalia"/>
              </a:rPr>
              <a:t>: 17.01.2023, 15:00 </a:t>
            </a:r>
            <a:r>
              <a:rPr lang="de-AT" sz="1100" b="1" dirty="0">
                <a:latin typeface="Amalia"/>
              </a:rPr>
              <a:t>Uhr MESZ / Erstmalige Weitergabe: 19.01.2023, 17  Uhr MESZ</a:t>
            </a:r>
          </a:p>
        </p:txBody>
      </p:sp>
      <p:sp>
        <p:nvSpPr>
          <p:cNvPr id="11" name="Rectangle 2">
            <a:extLst>
              <a:ext uri="{FF2B5EF4-FFF2-40B4-BE49-F238E27FC236}">
                <a16:creationId xmlns:a16="http://schemas.microsoft.com/office/drawing/2014/main" id="{38227642-F33D-4603-BDD1-1B0DD66ABBE8}"/>
              </a:ext>
            </a:extLst>
          </p:cNvPr>
          <p:cNvSpPr>
            <a:spLocks noGrp="1"/>
          </p:cNvSpPr>
          <p:nvPr>
            <p:ph type="title"/>
          </p:nvPr>
        </p:nvSpPr>
        <p:spPr>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t>Impressum</a:t>
            </a:r>
            <a:endParaRPr lang="de-AT" sz="2400"/>
          </a:p>
        </p:txBody>
      </p:sp>
    </p:spTree>
    <p:extLst>
      <p:ext uri="{BB962C8B-B14F-4D97-AF65-F5344CB8AC3E}">
        <p14:creationId xmlns:p14="http://schemas.microsoft.com/office/powerpoint/2010/main" val="3446511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07E4A8-15BA-46FF-8381-92EB3D624DB8}"/>
              </a:ext>
            </a:extLst>
          </p:cNvPr>
          <p:cNvSpPr>
            <a:spLocks noGrp="1"/>
          </p:cNvSpPr>
          <p:nvPr>
            <p:ph type="title"/>
          </p:nvPr>
        </p:nvSpPr>
        <p:spPr/>
        <p:txBody>
          <a:bodyPr/>
          <a:lstStyle/>
          <a:p>
            <a:r>
              <a:rPr lang="de-DE" sz="2400" dirty="0"/>
              <a:t>JAHRESANFANG -</a:t>
            </a:r>
            <a:br>
              <a:rPr lang="de-DE" sz="2400" dirty="0"/>
            </a:br>
            <a:r>
              <a:rPr lang="de-DE" sz="2400" b="0" dirty="0">
                <a:solidFill>
                  <a:schemeClr val="bg1">
                    <a:lumMod val="50000"/>
                  </a:schemeClr>
                </a:solidFill>
              </a:rPr>
              <a:t>Ein klarer Blick ist gefragt!</a:t>
            </a:r>
          </a:p>
        </p:txBody>
      </p:sp>
      <p:pic>
        <p:nvPicPr>
          <p:cNvPr id="5" name="Inhaltsplatzhalter 4" descr="Ein Bild, das Schnee, draußen, Natur, Himmel enthält.&#10;&#10;Automatisch generierte Beschreibung">
            <a:extLst>
              <a:ext uri="{FF2B5EF4-FFF2-40B4-BE49-F238E27FC236}">
                <a16:creationId xmlns:a16="http://schemas.microsoft.com/office/drawing/2014/main" id="{98C5AC5D-FDE6-4137-9F22-DA5158743DFE}"/>
              </a:ext>
            </a:extLst>
          </p:cNvPr>
          <p:cNvPicPr>
            <a:picLocks noGrp="1" noChangeAspect="1"/>
          </p:cNvPicPr>
          <p:nvPr>
            <p:ph sz="quarter" idx="10"/>
          </p:nvPr>
        </p:nvPicPr>
        <p:blipFill>
          <a:blip r:embed="rId2"/>
          <a:stretch>
            <a:fillRect/>
          </a:stretch>
        </p:blipFill>
        <p:spPr>
          <a:xfrm>
            <a:off x="1225636" y="1185333"/>
            <a:ext cx="10706719" cy="5829068"/>
          </a:xfrm>
        </p:spPr>
      </p:pic>
    </p:spTree>
    <p:extLst>
      <p:ext uri="{BB962C8B-B14F-4D97-AF65-F5344CB8AC3E}">
        <p14:creationId xmlns:p14="http://schemas.microsoft.com/office/powerpoint/2010/main" val="23560660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E52C1B-FF5E-43A8-963A-549A6B1B1F3E}"/>
              </a:ext>
            </a:extLst>
          </p:cNvPr>
          <p:cNvSpPr>
            <a:spLocks noGrp="1"/>
          </p:cNvSpPr>
          <p:nvPr>
            <p:ph type="title"/>
          </p:nvPr>
        </p:nvSpPr>
        <p:spPr/>
        <p:txBody>
          <a:bodyPr/>
          <a:lstStyle/>
          <a:p>
            <a:r>
              <a:rPr lang="de-DE" sz="2400"/>
              <a:t>GEOPOLITISCHE ZEITENWENDE </a:t>
            </a:r>
            <a:br>
              <a:rPr lang="de-DE" sz="2400"/>
            </a:br>
            <a:r>
              <a:rPr lang="de-DE" sz="2400" b="0">
                <a:solidFill>
                  <a:schemeClr val="bg1">
                    <a:lumMod val="50000"/>
                  </a:schemeClr>
                </a:solidFill>
              </a:rPr>
              <a:t>als Risikofaktor für 2023!</a:t>
            </a:r>
          </a:p>
        </p:txBody>
      </p:sp>
      <p:sp>
        <p:nvSpPr>
          <p:cNvPr id="3" name="Inhaltsplatzhalter 2">
            <a:extLst>
              <a:ext uri="{FF2B5EF4-FFF2-40B4-BE49-F238E27FC236}">
                <a16:creationId xmlns:a16="http://schemas.microsoft.com/office/drawing/2014/main" id="{FD3A9F72-28D0-4AAB-A337-7ED77199752E}"/>
              </a:ext>
            </a:extLst>
          </p:cNvPr>
          <p:cNvSpPr>
            <a:spLocks noGrp="1"/>
          </p:cNvSpPr>
          <p:nvPr>
            <p:ph sz="quarter" idx="10"/>
          </p:nvPr>
        </p:nvSpPr>
        <p:spPr>
          <a:xfrm>
            <a:off x="634629" y="1378728"/>
            <a:ext cx="12493003" cy="5500687"/>
          </a:xfrm>
        </p:spPr>
        <p:txBody>
          <a:bodyPr/>
          <a:lstStyle/>
          <a:p>
            <a:endParaRPr lang="de-DE"/>
          </a:p>
          <a:p>
            <a:r>
              <a:rPr lang="de-DE" sz="3600"/>
              <a:t>RUSSLAND: </a:t>
            </a:r>
            <a:r>
              <a:rPr lang="de-DE" sz="3600" b="0"/>
              <a:t>Ukraine-Krieg hält länger an</a:t>
            </a:r>
          </a:p>
          <a:p>
            <a:r>
              <a:rPr lang="de-DE" sz="3600"/>
              <a:t>CHINA: 	</a:t>
            </a:r>
            <a:r>
              <a:rPr lang="de-DE" sz="3600" b="0"/>
              <a:t>Neue COVID-Politik</a:t>
            </a:r>
          </a:p>
          <a:p>
            <a:r>
              <a:rPr lang="de-DE" sz="3600" b="0"/>
              <a:t>		Taiwan-Eskalation</a:t>
            </a:r>
          </a:p>
          <a:p>
            <a:r>
              <a:rPr lang="de-DE" sz="3600" b="0"/>
              <a:t>		Rohstoffkontrakte</a:t>
            </a:r>
          </a:p>
          <a:p>
            <a:r>
              <a:rPr lang="de-DE" sz="3600"/>
              <a:t>EU: </a:t>
            </a:r>
            <a:r>
              <a:rPr lang="de-DE" sz="3600" b="0"/>
              <a:t>Zu enge Auslegung des Lieferkettensorgfaltspflichtengesetz in D als Muster für EU</a:t>
            </a:r>
          </a:p>
        </p:txBody>
      </p:sp>
    </p:spTree>
    <p:extLst>
      <p:ext uri="{BB962C8B-B14F-4D97-AF65-F5344CB8AC3E}">
        <p14:creationId xmlns:p14="http://schemas.microsoft.com/office/powerpoint/2010/main" val="1103902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E52C1B-FF5E-43A8-963A-549A6B1B1F3E}"/>
              </a:ext>
            </a:extLst>
          </p:cNvPr>
          <p:cNvSpPr>
            <a:spLocks noGrp="1"/>
          </p:cNvSpPr>
          <p:nvPr>
            <p:ph type="title"/>
          </p:nvPr>
        </p:nvSpPr>
        <p:spPr/>
        <p:txBody>
          <a:bodyPr/>
          <a:lstStyle/>
          <a:p>
            <a:r>
              <a:rPr lang="de-DE" sz="2400"/>
              <a:t>INFLATION: NEUE PERIODE</a:t>
            </a:r>
            <a:br>
              <a:rPr lang="de-DE" sz="2400"/>
            </a:br>
            <a:r>
              <a:rPr lang="de-DE" sz="2400" b="0">
                <a:solidFill>
                  <a:schemeClr val="bg1">
                    <a:lumMod val="50000"/>
                  </a:schemeClr>
                </a:solidFill>
              </a:rPr>
              <a:t>durch strukturelle Änderungen führt zu höherem Inflationspotenzial</a:t>
            </a:r>
          </a:p>
        </p:txBody>
      </p:sp>
      <p:sp>
        <p:nvSpPr>
          <p:cNvPr id="3" name="Inhaltsplatzhalter 2">
            <a:extLst>
              <a:ext uri="{FF2B5EF4-FFF2-40B4-BE49-F238E27FC236}">
                <a16:creationId xmlns:a16="http://schemas.microsoft.com/office/drawing/2014/main" id="{FD3A9F72-28D0-4AAB-A337-7ED77199752E}"/>
              </a:ext>
            </a:extLst>
          </p:cNvPr>
          <p:cNvSpPr>
            <a:spLocks noGrp="1"/>
          </p:cNvSpPr>
          <p:nvPr>
            <p:ph sz="quarter" idx="10"/>
          </p:nvPr>
        </p:nvSpPr>
        <p:spPr>
          <a:xfrm>
            <a:off x="634629" y="1378728"/>
            <a:ext cx="12493003" cy="5500687"/>
          </a:xfrm>
        </p:spPr>
        <p:txBody>
          <a:bodyPr/>
          <a:lstStyle/>
          <a:p>
            <a:endParaRPr lang="de-DE"/>
          </a:p>
          <a:p>
            <a:r>
              <a:rPr lang="de-DE" sz="3200"/>
              <a:t>KLIMASCHUTZ: </a:t>
            </a:r>
            <a:r>
              <a:rPr lang="de-DE" sz="3200" b="0"/>
              <a:t>Verteuerung von fossiler Energie</a:t>
            </a:r>
          </a:p>
          <a:p>
            <a:r>
              <a:rPr lang="de-DE" sz="3200"/>
              <a:t>ESG: </a:t>
            </a:r>
            <a:r>
              <a:rPr lang="de-DE" sz="3200" b="0"/>
              <a:t>Menschenrechte, Lieferketten</a:t>
            </a:r>
          </a:p>
          <a:p>
            <a:r>
              <a:rPr lang="de-DE" sz="3200"/>
              <a:t>GLOBALISIERUNG: </a:t>
            </a:r>
            <a:r>
              <a:rPr lang="de-DE" sz="3200" b="0"/>
              <a:t>Flexibilisierung von Wertschöpfungsketten</a:t>
            </a:r>
          </a:p>
          <a:p>
            <a:r>
              <a:rPr lang="de-DE" sz="3200"/>
              <a:t>DEMOGRAFIE: </a:t>
            </a:r>
            <a:r>
              <a:rPr lang="de-DE" sz="3200" b="0"/>
              <a:t>Abnahme arbeitsfähiger Bevölkerung</a:t>
            </a:r>
          </a:p>
          <a:p>
            <a:r>
              <a:rPr lang="de-DE" sz="3200"/>
              <a:t>MONETÄRE&amp;FISKALISCHE EXPANSION: </a:t>
            </a:r>
            <a:r>
              <a:rPr lang="de-DE" sz="3200" b="0"/>
              <a:t>Hohe Geldvermehrung</a:t>
            </a:r>
          </a:p>
        </p:txBody>
      </p:sp>
    </p:spTree>
    <p:extLst>
      <p:ext uri="{BB962C8B-B14F-4D97-AF65-F5344CB8AC3E}">
        <p14:creationId xmlns:p14="http://schemas.microsoft.com/office/powerpoint/2010/main" val="390789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F83988-F88C-4EE0-960E-BAC7544F06CB}"/>
              </a:ext>
            </a:extLst>
          </p:cNvPr>
          <p:cNvSpPr>
            <a:spLocks noGrp="1"/>
          </p:cNvSpPr>
          <p:nvPr>
            <p:ph type="title"/>
          </p:nvPr>
        </p:nvSpPr>
        <p:spPr/>
        <p:txBody>
          <a:bodyPr/>
          <a:lstStyle/>
          <a:p>
            <a:r>
              <a:rPr lang="de-DE" sz="2400"/>
              <a:t>KLIMAWANDEL</a:t>
            </a:r>
            <a:br>
              <a:rPr lang="de-DE" sz="2400"/>
            </a:br>
            <a:r>
              <a:rPr lang="de-DE" sz="2400" b="0"/>
              <a:t>in Österreich mehr als doppelt so stark wie global</a:t>
            </a:r>
          </a:p>
        </p:txBody>
      </p:sp>
      <p:pic>
        <p:nvPicPr>
          <p:cNvPr id="5" name="Inhaltsplatzhalter 4">
            <a:extLst>
              <a:ext uri="{FF2B5EF4-FFF2-40B4-BE49-F238E27FC236}">
                <a16:creationId xmlns:a16="http://schemas.microsoft.com/office/drawing/2014/main" id="{8BC0E618-EFE4-42BC-B803-A4801645A3E0}"/>
              </a:ext>
            </a:extLst>
          </p:cNvPr>
          <p:cNvPicPr>
            <a:picLocks noGrp="1" noChangeAspect="1"/>
          </p:cNvPicPr>
          <p:nvPr>
            <p:ph sz="quarter" idx="10"/>
          </p:nvPr>
        </p:nvPicPr>
        <p:blipFill>
          <a:blip r:embed="rId2"/>
          <a:stretch>
            <a:fillRect/>
          </a:stretch>
        </p:blipFill>
        <p:spPr>
          <a:xfrm>
            <a:off x="1152907" y="1201479"/>
            <a:ext cx="11066067" cy="5730949"/>
          </a:xfrm>
        </p:spPr>
      </p:pic>
    </p:spTree>
    <p:extLst>
      <p:ext uri="{BB962C8B-B14F-4D97-AF65-F5344CB8AC3E}">
        <p14:creationId xmlns:p14="http://schemas.microsoft.com/office/powerpoint/2010/main" val="348182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CD25D9B-32DA-5EE6-2356-6FBEA1C05166}"/>
              </a:ext>
            </a:extLst>
          </p:cNvPr>
          <p:cNvSpPr>
            <a:spLocks noGrp="1"/>
          </p:cNvSpPr>
          <p:nvPr>
            <p:ph type="title"/>
          </p:nvPr>
        </p:nvSpPr>
        <p:spPr>
          <a:xfrm>
            <a:off x="634631" y="471294"/>
            <a:ext cx="10571473" cy="371854"/>
          </a:xfrm>
        </p:spPr>
        <p:txBody>
          <a:bodyPr/>
          <a:lstStyle/>
          <a:p>
            <a:r>
              <a:rPr lang="en-US" sz="2400"/>
              <a:t>TEMPERATURABWEICHUNGEN</a:t>
            </a:r>
            <a:br>
              <a:rPr lang="en-US" sz="2400"/>
            </a:br>
            <a:r>
              <a:rPr lang="en-US" sz="2400" b="0">
                <a:solidFill>
                  <a:schemeClr val="bg1">
                    <a:lumMod val="50000"/>
                  </a:schemeClr>
                </a:solidFill>
              </a:rPr>
              <a:t>Extreme </a:t>
            </a:r>
            <a:r>
              <a:rPr lang="en-US" sz="2400" b="0" err="1">
                <a:solidFill>
                  <a:schemeClr val="bg1">
                    <a:lumMod val="50000"/>
                  </a:schemeClr>
                </a:solidFill>
              </a:rPr>
              <a:t>Wärme</a:t>
            </a:r>
            <a:r>
              <a:rPr lang="en-US" sz="2400" b="0">
                <a:solidFill>
                  <a:schemeClr val="bg1">
                    <a:lumMod val="50000"/>
                  </a:schemeClr>
                </a:solidFill>
              </a:rPr>
              <a:t> in Europa, Amerika und </a:t>
            </a:r>
            <a:r>
              <a:rPr lang="en-US" sz="2400" b="0" err="1">
                <a:solidFill>
                  <a:schemeClr val="bg1">
                    <a:lumMod val="50000"/>
                  </a:schemeClr>
                </a:solidFill>
              </a:rPr>
              <a:t>Asien</a:t>
            </a:r>
            <a:endParaRPr lang="en-US" sz="2400" b="0">
              <a:solidFill>
                <a:schemeClr val="bg1">
                  <a:lumMod val="50000"/>
                </a:schemeClr>
              </a:solidFill>
            </a:endParaRPr>
          </a:p>
        </p:txBody>
      </p:sp>
      <p:sp>
        <p:nvSpPr>
          <p:cNvPr id="14" name="Text Placeholder 2">
            <a:extLst>
              <a:ext uri="{FF2B5EF4-FFF2-40B4-BE49-F238E27FC236}">
                <a16:creationId xmlns:a16="http://schemas.microsoft.com/office/drawing/2014/main" id="{24F56E88-FABA-B91F-1B97-61FD67E91912}"/>
              </a:ext>
            </a:extLst>
          </p:cNvPr>
          <p:cNvSpPr>
            <a:spLocks noGrp="1"/>
          </p:cNvSpPr>
          <p:nvPr>
            <p:ph type="body" sz="quarter" idx="25"/>
          </p:nvPr>
        </p:nvSpPr>
        <p:spPr>
          <a:xfrm>
            <a:off x="608224" y="1371600"/>
            <a:ext cx="6106802" cy="237046"/>
          </a:xfrm>
        </p:spPr>
        <p:txBody>
          <a:bodyPr/>
          <a:lstStyle/>
          <a:p>
            <a:r>
              <a:rPr lang="en-US"/>
              <a:t>EUROPA </a:t>
            </a:r>
            <a:r>
              <a:rPr lang="en-US" err="1"/>
              <a:t>im</a:t>
            </a:r>
            <a:r>
              <a:rPr lang="en-US"/>
              <a:t> November 2022</a:t>
            </a:r>
          </a:p>
        </p:txBody>
      </p:sp>
      <p:sp>
        <p:nvSpPr>
          <p:cNvPr id="16" name="Text Placeholder 3">
            <a:extLst>
              <a:ext uri="{FF2B5EF4-FFF2-40B4-BE49-F238E27FC236}">
                <a16:creationId xmlns:a16="http://schemas.microsoft.com/office/drawing/2014/main" id="{D7F91E5E-8F31-C5D2-49B9-4584D767FC08}"/>
              </a:ext>
            </a:extLst>
          </p:cNvPr>
          <p:cNvSpPr>
            <a:spLocks noGrp="1"/>
          </p:cNvSpPr>
          <p:nvPr>
            <p:ph type="body" sz="quarter" idx="26"/>
          </p:nvPr>
        </p:nvSpPr>
        <p:spPr>
          <a:xfrm>
            <a:off x="7043098" y="1371600"/>
            <a:ext cx="6106802" cy="237046"/>
          </a:xfrm>
        </p:spPr>
        <p:txBody>
          <a:bodyPr/>
          <a:lstStyle/>
          <a:p>
            <a:r>
              <a:rPr lang="en-US"/>
              <a:t>NORDHALBKUGEL </a:t>
            </a:r>
            <a:r>
              <a:rPr lang="en-US" err="1"/>
              <a:t>aktuell</a:t>
            </a:r>
            <a:r>
              <a:rPr lang="en-US"/>
              <a:t> </a:t>
            </a:r>
          </a:p>
        </p:txBody>
      </p:sp>
      <p:pic>
        <p:nvPicPr>
          <p:cNvPr id="7" name="Grafik 6">
            <a:extLst>
              <a:ext uri="{FF2B5EF4-FFF2-40B4-BE49-F238E27FC236}">
                <a16:creationId xmlns:a16="http://schemas.microsoft.com/office/drawing/2014/main" id="{FFB0784A-060C-4E5B-817F-BA9FF1254B96}"/>
              </a:ext>
            </a:extLst>
          </p:cNvPr>
          <p:cNvPicPr>
            <a:picLocks noChangeAspect="1"/>
          </p:cNvPicPr>
          <p:nvPr/>
        </p:nvPicPr>
        <p:blipFill>
          <a:blip r:embed="rId2"/>
          <a:stretch>
            <a:fillRect/>
          </a:stretch>
        </p:blipFill>
        <p:spPr>
          <a:xfrm>
            <a:off x="634630" y="1987458"/>
            <a:ext cx="5904715" cy="4732521"/>
          </a:xfrm>
          <a:prstGeom prst="rect">
            <a:avLst/>
          </a:prstGeom>
          <a:noFill/>
        </p:spPr>
      </p:pic>
      <p:pic>
        <p:nvPicPr>
          <p:cNvPr id="6" name="Content Placeholder 5">
            <a:extLst>
              <a:ext uri="{FF2B5EF4-FFF2-40B4-BE49-F238E27FC236}">
                <a16:creationId xmlns:a16="http://schemas.microsoft.com/office/drawing/2014/main" id="{7C021819-A0CE-425D-B993-73754706832B}"/>
              </a:ext>
            </a:extLst>
          </p:cNvPr>
          <p:cNvPicPr>
            <a:picLocks noGrp="1" noChangeAspect="1"/>
          </p:cNvPicPr>
          <p:nvPr>
            <p:ph sz="quarter" idx="28"/>
          </p:nvPr>
        </p:nvPicPr>
        <p:blipFill>
          <a:blip r:embed="rId3"/>
          <a:stretch>
            <a:fillRect/>
          </a:stretch>
        </p:blipFill>
        <p:spPr>
          <a:xfrm>
            <a:off x="7040563" y="1990996"/>
            <a:ext cx="6086475" cy="4725445"/>
          </a:xfrm>
        </p:spPr>
      </p:pic>
    </p:spTree>
    <p:extLst>
      <p:ext uri="{BB962C8B-B14F-4D97-AF65-F5344CB8AC3E}">
        <p14:creationId xmlns:p14="http://schemas.microsoft.com/office/powerpoint/2010/main" val="2865257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 calcmode="lin" valueType="num">
                                      <p:cBhvr additive="base">
                                        <p:cTn id="7" dur="50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6">
                                            <p:txEl>
                                              <p:pRg st="0" end="0"/>
                                            </p:txEl>
                                          </p:spTgt>
                                        </p:tgtEl>
                                        <p:attrNameLst>
                                          <p:attrName>style.visibility</p:attrName>
                                        </p:attrNameLst>
                                      </p:cBhvr>
                                      <p:to>
                                        <p:strVal val="visible"/>
                                      </p:to>
                                    </p:set>
                                    <p:anim calcmode="lin" valueType="num">
                                      <p:cBhvr additive="base">
                                        <p:cTn id="12" dur="500" fill="hold"/>
                                        <p:tgtEl>
                                          <p:spTgt spid="16">
                                            <p:txEl>
                                              <p:pRg st="0" end="0"/>
                                            </p:txEl>
                                          </p:spTgt>
                                        </p:tgtEl>
                                        <p:attrNameLst>
                                          <p:attrName>ppt_x</p:attrName>
                                        </p:attrNameLst>
                                      </p:cBhvr>
                                      <p:tavLst>
                                        <p:tav tm="0">
                                          <p:val>
                                            <p:strVal val="0-#ppt_w/2"/>
                                          </p:val>
                                        </p:tav>
                                        <p:tav tm="100000">
                                          <p:val>
                                            <p:strVal val="#ppt_x"/>
                                          </p:val>
                                        </p:tav>
                                      </p:tavLst>
                                    </p:anim>
                                    <p:anim calcmode="lin" valueType="num">
                                      <p:cBhvr additive="base">
                                        <p:cTn id="13" dur="500" fill="hold"/>
                                        <p:tgtEl>
                                          <p:spTgt spid="16">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0-#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6"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9" name="Title 1">
            <a:extLst>
              <a:ext uri="{FF2B5EF4-FFF2-40B4-BE49-F238E27FC236}">
                <a16:creationId xmlns:a16="http://schemas.microsoft.com/office/drawing/2014/main" id="{78EB66E9-90D0-9175-BB27-0D1126BC5BFC}"/>
              </a:ext>
            </a:extLst>
          </p:cNvPr>
          <p:cNvSpPr>
            <a:spLocks noGrp="1"/>
          </p:cNvSpPr>
          <p:nvPr>
            <p:ph type="title"/>
          </p:nvPr>
        </p:nvSpPr>
        <p:spPr>
          <a:xfrm>
            <a:off x="634629" y="471294"/>
            <a:ext cx="10546210" cy="374634"/>
          </a:xfrm>
        </p:spPr>
        <p:txBody>
          <a:bodyPr/>
          <a:lstStyle/>
          <a:p>
            <a:r>
              <a:rPr lang="de-DE" sz="2400"/>
              <a:t>ERDGAS-PREIS IN EUROPA</a:t>
            </a:r>
            <a:br>
              <a:rPr lang="de-DE" sz="2400"/>
            </a:br>
            <a:r>
              <a:rPr lang="de-DE" sz="2400" b="0">
                <a:solidFill>
                  <a:schemeClr val="bg1">
                    <a:lumMod val="50000"/>
                  </a:schemeClr>
                </a:solidFill>
              </a:rPr>
              <a:t>Niveau von Q4 2021 erreicht, milde Witterung als Hauptfaktor</a:t>
            </a:r>
            <a:endParaRPr lang="en-US" sz="2400"/>
          </a:p>
        </p:txBody>
      </p:sp>
      <p:pic>
        <p:nvPicPr>
          <p:cNvPr id="6" name="Picture 5">
            <a:extLst>
              <a:ext uri="{FF2B5EF4-FFF2-40B4-BE49-F238E27FC236}">
                <a16:creationId xmlns:a16="http://schemas.microsoft.com/office/drawing/2014/main" id="{990EF1A0-871C-41BC-BC32-06496077028F}"/>
              </a:ext>
            </a:extLst>
          </p:cNvPr>
          <p:cNvPicPr>
            <a:picLocks noChangeAspect="1"/>
          </p:cNvPicPr>
          <p:nvPr/>
        </p:nvPicPr>
        <p:blipFill>
          <a:blip r:embed="rId2"/>
          <a:stretch>
            <a:fillRect/>
          </a:stretch>
        </p:blipFill>
        <p:spPr>
          <a:xfrm>
            <a:off x="1688951" y="1205121"/>
            <a:ext cx="10546209" cy="5492338"/>
          </a:xfrm>
          <a:prstGeom prst="rect">
            <a:avLst/>
          </a:prstGeom>
        </p:spPr>
      </p:pic>
      <p:sp>
        <p:nvSpPr>
          <p:cNvPr id="10" name="TextBox 9">
            <a:extLst>
              <a:ext uri="{FF2B5EF4-FFF2-40B4-BE49-F238E27FC236}">
                <a16:creationId xmlns:a16="http://schemas.microsoft.com/office/drawing/2014/main" id="{CF2B555F-00F5-4900-9166-89F76FFCC5CB}"/>
              </a:ext>
            </a:extLst>
          </p:cNvPr>
          <p:cNvSpPr txBox="1"/>
          <p:nvPr/>
        </p:nvSpPr>
        <p:spPr bwMode="gray">
          <a:xfrm>
            <a:off x="1618690" y="6720637"/>
            <a:ext cx="6723528" cy="246221"/>
          </a:xfrm>
          <a:prstGeom prst="rect">
            <a:avLst/>
          </a:prstGeom>
          <a:noFill/>
        </p:spPr>
        <p:txBody>
          <a:bodyPr wrap="square">
            <a:spAutoFit/>
          </a:bodyPr>
          <a:lstStyle/>
          <a:p>
            <a:pPr marL="0">
              <a:spcBef>
                <a:spcPts val="0"/>
              </a:spcBef>
              <a:buNone/>
            </a:pPr>
            <a:r>
              <a:rPr lang="en-US" sz="1000">
                <a:solidFill>
                  <a:srgbClr val="696969"/>
                </a:solidFill>
                <a:latin typeface="Amalia" panose="020B0504020203020204" pitchFamily="34" charset="0"/>
                <a:cs typeface="Century Gothic"/>
              </a:rPr>
              <a:t>Quelle: Refinitiv, RBI/Raiffeisen Research</a:t>
            </a:r>
          </a:p>
        </p:txBody>
      </p:sp>
    </p:spTree>
    <p:extLst>
      <p:ext uri="{BB962C8B-B14F-4D97-AF65-F5344CB8AC3E}">
        <p14:creationId xmlns:p14="http://schemas.microsoft.com/office/powerpoint/2010/main" val="2805911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0-#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995BB0-0277-4FC4-9679-CF5D81554DD0}"/>
              </a:ext>
            </a:extLst>
          </p:cNvPr>
          <p:cNvSpPr>
            <a:spLocks noGrp="1"/>
          </p:cNvSpPr>
          <p:nvPr>
            <p:ph type="title"/>
          </p:nvPr>
        </p:nvSpPr>
        <p:spPr/>
        <p:txBody>
          <a:bodyPr/>
          <a:lstStyle/>
          <a:p>
            <a:r>
              <a:rPr lang="de-DE" sz="2400"/>
              <a:t>GESAMTRATE VERSUS KERNRATE</a:t>
            </a:r>
            <a:br>
              <a:rPr lang="de-DE" sz="2400"/>
            </a:br>
            <a:r>
              <a:rPr lang="de-DE" sz="2400" b="0"/>
              <a:t>Inflation in der Eurozone wird breiter</a:t>
            </a:r>
          </a:p>
        </p:txBody>
      </p:sp>
      <p:graphicFrame>
        <p:nvGraphicFramePr>
          <p:cNvPr id="4" name="Chart 1">
            <a:extLst>
              <a:ext uri="{FF2B5EF4-FFF2-40B4-BE49-F238E27FC236}">
                <a16:creationId xmlns:a16="http://schemas.microsoft.com/office/drawing/2014/main" id="{C9CE8A89-2086-4B59-BB4E-BD033B430ED7}"/>
              </a:ext>
            </a:extLst>
          </p:cNvPr>
          <p:cNvGraphicFramePr>
            <a:graphicFrameLocks/>
          </p:cNvGraphicFramePr>
          <p:nvPr>
            <p:extLst>
              <p:ext uri="{D42A27DB-BD31-4B8C-83A1-F6EECF244321}">
                <p14:modId xmlns:p14="http://schemas.microsoft.com/office/powerpoint/2010/main" val="1926139636"/>
              </p:ext>
            </p:extLst>
          </p:nvPr>
        </p:nvGraphicFramePr>
        <p:xfrm>
          <a:off x="634629" y="1233377"/>
          <a:ext cx="12485948" cy="5518297"/>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50">
            <a:extLst>
              <a:ext uri="{FF2B5EF4-FFF2-40B4-BE49-F238E27FC236}">
                <a16:creationId xmlns:a16="http://schemas.microsoft.com/office/drawing/2014/main" id="{A9ADA5C7-FBA3-44D4-9FA4-F08D5A702107}"/>
              </a:ext>
            </a:extLst>
          </p:cNvPr>
          <p:cNvSpPr txBox="1">
            <a:spLocks/>
          </p:cNvSpPr>
          <p:nvPr/>
        </p:nvSpPr>
        <p:spPr>
          <a:xfrm>
            <a:off x="634629" y="6673430"/>
            <a:ext cx="9952238" cy="374634"/>
          </a:xfrm>
        </p:spPr>
        <p:txBody>
          <a:bodyPr/>
          <a:lstStyle>
            <a:lvl1pPr marL="180000" indent="-180000" algn="l" defTabSz="1219170" rtl="0" eaLnBrk="1" latinLnBrk="0" hangingPunct="1">
              <a:lnSpc>
                <a:spcPct val="120000"/>
              </a:lnSpc>
              <a:spcBef>
                <a:spcPts val="600"/>
              </a:spcBef>
              <a:spcAft>
                <a:spcPts val="0"/>
              </a:spcAft>
              <a:buClr>
                <a:srgbClr val="004F71"/>
              </a:buClr>
              <a:buSzPct val="80000"/>
              <a:buFont typeface="Calibri" panose="02000000000000000000" pitchFamily="2" charset="0"/>
              <a:buChar char="•"/>
              <a:defRPr sz="1800" b="0" i="0" kern="1200" spc="0" baseline="0">
                <a:solidFill>
                  <a:srgbClr val="004F71"/>
                </a:solidFill>
                <a:latin typeface="+mj-lt"/>
                <a:ea typeface="Roboto" panose="02000000000000000000" pitchFamily="2" charset="0"/>
                <a:cs typeface="Calibri" panose="020F0502020204030204" pitchFamily="34" charset="0"/>
              </a:defRPr>
            </a:lvl1pPr>
            <a:lvl2pPr marL="432000" indent="-180000" algn="l" defTabSz="1219170" rtl="0" eaLnBrk="1" latinLnBrk="0" hangingPunct="1">
              <a:lnSpc>
                <a:spcPct val="120000"/>
              </a:lnSpc>
              <a:spcBef>
                <a:spcPts val="200"/>
              </a:spcBef>
              <a:spcAft>
                <a:spcPts val="0"/>
              </a:spcAft>
              <a:buClr>
                <a:srgbClr val="004F71"/>
              </a:buClr>
              <a:buSzPct val="100000"/>
              <a:buFont typeface="Arial" panose="020B0604020202020204" pitchFamily="34" charset="0"/>
              <a:buChar char="•"/>
              <a:defRPr sz="1600" b="0" i="0" kern="1200" spc="0" baseline="0">
                <a:solidFill>
                  <a:srgbClr val="004F71"/>
                </a:solidFill>
                <a:latin typeface="+mj-lt"/>
                <a:ea typeface="Roboto" panose="02000000000000000000" pitchFamily="2" charset="0"/>
                <a:cs typeface="Calibri" panose="020F0502020204030204" pitchFamily="34" charset="0"/>
              </a:defRPr>
            </a:lvl2pPr>
            <a:lvl3pPr marL="720000" indent="-180000" algn="l" defTabSz="1219170" rtl="0" eaLnBrk="1" latinLnBrk="0" hangingPunct="1">
              <a:lnSpc>
                <a:spcPct val="120000"/>
              </a:lnSpc>
              <a:spcBef>
                <a:spcPts val="200"/>
              </a:spcBef>
              <a:spcAft>
                <a:spcPts val="0"/>
              </a:spcAft>
              <a:buClr>
                <a:srgbClr val="004F71"/>
              </a:buClr>
              <a:buSzPct val="80000"/>
              <a:buFont typeface="Calibri" panose="02000000000000000000" pitchFamily="2" charset="0"/>
              <a:buChar char="•"/>
              <a:defRPr sz="1200" b="0" i="0" kern="1200" spc="0" baseline="0">
                <a:solidFill>
                  <a:srgbClr val="004F71"/>
                </a:solidFill>
                <a:latin typeface="+mj-lt"/>
                <a:ea typeface="Roboto" panose="02000000000000000000" pitchFamily="2" charset="0"/>
                <a:cs typeface="Calibri" panose="020F0502020204030204" pitchFamily="34" charset="0"/>
              </a:defRPr>
            </a:lvl3pPr>
            <a:lvl4pPr marL="900000" indent="-180000" algn="l" defTabSz="1219170" rtl="0" eaLnBrk="1" latinLnBrk="0" hangingPunct="1">
              <a:lnSpc>
                <a:spcPct val="120000"/>
              </a:lnSpc>
              <a:spcBef>
                <a:spcPts val="200"/>
              </a:spcBef>
              <a:spcAft>
                <a:spcPts val="0"/>
              </a:spcAft>
              <a:buClr>
                <a:srgbClr val="004F71"/>
              </a:buClr>
              <a:buFont typeface="Calibri" panose="02000000000000000000" pitchFamily="2" charset="0"/>
              <a:buChar char="–"/>
              <a:defRPr sz="1000" b="0" i="0" kern="1200" spc="0" baseline="0">
                <a:solidFill>
                  <a:srgbClr val="004F71"/>
                </a:solidFill>
                <a:latin typeface="+mj-lt"/>
                <a:ea typeface="Roboto" panose="02000000000000000000" pitchFamily="2" charset="0"/>
                <a:cs typeface="Calibri" panose="020F0502020204030204" pitchFamily="34" charset="0"/>
              </a:defRPr>
            </a:lvl4pPr>
            <a:lvl5pPr marL="1080000" indent="-180000" algn="l" defTabSz="1219170" rtl="0" eaLnBrk="1" latinLnBrk="0" hangingPunct="1">
              <a:lnSpc>
                <a:spcPct val="120000"/>
              </a:lnSpc>
              <a:spcBef>
                <a:spcPts val="200"/>
              </a:spcBef>
              <a:spcAft>
                <a:spcPts val="0"/>
              </a:spcAft>
              <a:buClr>
                <a:srgbClr val="004F71"/>
              </a:buClr>
              <a:buFont typeface="Calibri" panose="02000000000000000000" pitchFamily="2" charset="0"/>
              <a:buChar char="»"/>
              <a:defRPr sz="1000" b="0" i="0" kern="1200" spc="0" baseline="0">
                <a:solidFill>
                  <a:srgbClr val="004F71"/>
                </a:solidFill>
                <a:latin typeface="+mj-lt"/>
                <a:ea typeface="Roboto" panose="02000000000000000000" pitchFamily="2" charset="0"/>
                <a:cs typeface="Calibri" panose="020F050202020403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a:spcBef>
                <a:spcPts val="0"/>
              </a:spcBef>
              <a:buNone/>
            </a:pPr>
            <a:r>
              <a:rPr lang="en-US" sz="1000">
                <a:solidFill>
                  <a:srgbClr val="696969"/>
                </a:solidFill>
                <a:latin typeface="Amalia" panose="020B0504020203020204" pitchFamily="34" charset="0"/>
                <a:cs typeface="Century Gothic"/>
              </a:rPr>
              <a:t>Quelle: Refinitiv, RBI/Raiffeisen Research</a:t>
            </a:r>
          </a:p>
        </p:txBody>
      </p:sp>
    </p:spTree>
    <p:extLst>
      <p:ext uri="{BB962C8B-B14F-4D97-AF65-F5344CB8AC3E}">
        <p14:creationId xmlns:p14="http://schemas.microsoft.com/office/powerpoint/2010/main" val="3526645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0-#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heme/theme1.xml><?xml version="1.0" encoding="utf-8"?>
<a:theme xmlns:a="http://schemas.openxmlformats.org/drawingml/2006/main" name="RBI Master">
  <a:themeElements>
    <a:clrScheme name="RBI 2020">
      <a:dk1>
        <a:sysClr val="windowText" lastClr="000000"/>
      </a:dk1>
      <a:lt1>
        <a:sysClr val="window" lastClr="FFFFFF"/>
      </a:lt1>
      <a:dk2>
        <a:srgbClr val="000000"/>
      </a:dk2>
      <a:lt2>
        <a:srgbClr val="FFFFFF"/>
      </a:lt2>
      <a:accent1>
        <a:srgbClr val="FEE600"/>
      </a:accent1>
      <a:accent2>
        <a:srgbClr val="595959"/>
      </a:accent2>
      <a:accent3>
        <a:srgbClr val="3366FF"/>
      </a:accent3>
      <a:accent4>
        <a:srgbClr val="800000"/>
      </a:accent4>
      <a:accent5>
        <a:srgbClr val="A3A3A3"/>
      </a:accent5>
      <a:accent6>
        <a:srgbClr val="7F6000"/>
      </a:accent6>
      <a:hlink>
        <a:srgbClr val="FFAE0C"/>
      </a:hlink>
      <a:folHlink>
        <a:srgbClr val="4C3A00"/>
      </a:folHlink>
    </a:clrScheme>
    <a:fontScheme name="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9525">
          <a:noFill/>
        </a:ln>
      </a:spPr>
      <a:bodyPr rtlCol="0" anchor="ctr"/>
      <a:lstStyle>
        <a:defPPr algn="ctr">
          <a:defRPr sz="16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600" b="1" dirty="0" err="1" smtClean="0"/>
        </a:defPPr>
      </a:lstStyle>
    </a:txDef>
  </a:objectDefaults>
  <a:extraClrSchemeLst/>
  <a:extLst>
    <a:ext uri="{05A4C25C-085E-4340-85A3-A5531E510DB2}">
      <thm15:themeFamily xmlns:thm15="http://schemas.microsoft.com/office/thememl/2012/main" name="4_3_RESEARCH_VIRUS_deutsch.potx" id="{13129351-52E5-432E-BD2C-17FF387ADB58}" vid="{1D8DA6D3-300D-4680-8B62-B600CF618334}"/>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Raiffaeisen Master">
      <a:dk1>
        <a:srgbClr val="000000"/>
      </a:dk1>
      <a:lt1>
        <a:srgbClr val="FFFFFF"/>
      </a:lt1>
      <a:dk2>
        <a:srgbClr val="000000"/>
      </a:dk2>
      <a:lt2>
        <a:srgbClr val="FFFFFF"/>
      </a:lt2>
      <a:accent1>
        <a:srgbClr val="FFDB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0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000" b="1" dirty="0" err="1"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Raiffaeisen Master">
      <a:dk1>
        <a:srgbClr val="000000"/>
      </a:dk1>
      <a:lt1>
        <a:srgbClr val="FFFFFF"/>
      </a:lt1>
      <a:dk2>
        <a:srgbClr val="000000"/>
      </a:dk2>
      <a:lt2>
        <a:srgbClr val="FFFFFF"/>
      </a:lt2>
      <a:accent1>
        <a:srgbClr val="FFDB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0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000" b="1"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aiffeisen Research">
    <a:dk1>
      <a:srgbClr val="000000"/>
    </a:dk1>
    <a:lt1>
      <a:srgbClr val="FFFFFF"/>
    </a:lt1>
    <a:dk2>
      <a:srgbClr val="000000"/>
    </a:dk2>
    <a:lt2>
      <a:srgbClr val="FFFFFF"/>
    </a:lt2>
    <a:accent1>
      <a:srgbClr val="FBF315"/>
    </a:accent1>
    <a:accent2>
      <a:srgbClr val="000000"/>
    </a:accent2>
    <a:accent3>
      <a:srgbClr val="808080"/>
    </a:accent3>
    <a:accent4>
      <a:srgbClr val="0A0EFA"/>
    </a:accent4>
    <a:accent5>
      <a:srgbClr val="D9D9D9"/>
    </a:accent5>
    <a:accent6>
      <a:srgbClr val="FFF483"/>
    </a:accent6>
    <a:hlink>
      <a:srgbClr val="3366FF"/>
    </a:hlink>
    <a:folHlink>
      <a:srgbClr val="333399"/>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2">
    <a:dk1>
      <a:srgbClr val="000000"/>
    </a:dk1>
    <a:lt1>
      <a:srgbClr val="FFFFFF"/>
    </a:lt1>
    <a:dk2>
      <a:srgbClr val="44546A"/>
    </a:dk2>
    <a:lt2>
      <a:srgbClr val="E7E6E6"/>
    </a:lt2>
    <a:accent1>
      <a:srgbClr val="FBF315"/>
    </a:accent1>
    <a:accent2>
      <a:srgbClr val="000000"/>
    </a:accent2>
    <a:accent3>
      <a:srgbClr val="696969"/>
    </a:accent3>
    <a:accent4>
      <a:srgbClr val="FFF483"/>
    </a:accent4>
    <a:accent5>
      <a:srgbClr val="D9D9D9"/>
    </a:accent5>
    <a:accent6>
      <a:srgbClr val="0A0FFA"/>
    </a:accent6>
    <a:hlink>
      <a:srgbClr val="0000FF"/>
    </a:hlink>
    <a:folHlink>
      <a:srgbClr val="800080"/>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C38B1F97DFB148BB32F60B0119F400" ma:contentTypeVersion="20" ma:contentTypeDescription="Create a new document." ma:contentTypeScope="" ma:versionID="beb9ec93c50b66b7e9c9175092495f89">
  <xsd:schema xmlns:xsd="http://www.w3.org/2001/XMLSchema" xmlns:xs="http://www.w3.org/2001/XMLSchema" xmlns:p="http://schemas.microsoft.com/office/2006/metadata/properties" xmlns:ns1="http://schemas.microsoft.com/sharepoint/v3" xmlns:ns2="585887f8-f000-491b-a0e9-a12493ed92fa" xmlns:ns3="bf7a6c9d-2b16-47b8-8d05-b2d19fdf8416" targetNamespace="http://schemas.microsoft.com/office/2006/metadata/properties" ma:root="true" ma:fieldsID="b5fff6b2da7042954daadced7c78c6b7" ns1:_="" ns2:_="" ns3:_="">
    <xsd:import namespace="http://schemas.microsoft.com/sharepoint/v3"/>
    <xsd:import namespace="585887f8-f000-491b-a0e9-a12493ed92fa"/>
    <xsd:import namespace="bf7a6c9d-2b16-47b8-8d05-b2d19fdf841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TaxCatchAll" minOccurs="0"/>
                <xsd:element ref="ns3:MediaServiceGenerationTime" minOccurs="0"/>
                <xsd:element ref="ns3:MediaServiceEventHashCode" minOccurs="0"/>
                <xsd:element ref="ns3:MediaServiceAutoKeyPoints" minOccurs="0"/>
                <xsd:element ref="ns3:MediaServiceKeyPoints" minOccurs="0"/>
                <xsd:element ref="ns1:_ip_UnifiedCompliancePolicyProperties" minOccurs="0"/>
                <xsd:element ref="ns1:_ip_UnifiedCompliancePolicyUIAction" minOccurs="0"/>
                <xsd:element ref="ns3:MediaLengthInSeconds" minOccurs="0"/>
                <xsd:element ref="ns3: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85887f8-f000-491b-a0e9-a12493ed92f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b65131db-474f-4cc0-b925-3724b488ff4b}" ma:internalName="TaxCatchAll" ma:showField="CatchAllData" ma:web="585887f8-f000-491b-a0e9-a12493ed92f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f7a6c9d-2b16-47b8-8d05-b2d19fdf841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1b8c0c90-bcfb-49ef-b405-3eb3828e4755"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85887f8-f000-491b-a0e9-a12493ed92fa" xsi:nil="true"/>
    <_ip_UnifiedCompliancePolicyUIAction xmlns="http://schemas.microsoft.com/sharepoint/v3" xsi:nil="true"/>
    <_ip_UnifiedCompliancePolicyProperties xmlns="http://schemas.microsoft.com/sharepoint/v3" xsi:nil="true"/>
    <lcf76f155ced4ddcb4097134ff3c332f xmlns="bf7a6c9d-2b16-47b8-8d05-b2d19fdf841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D4A48D8-9D46-4262-9644-23CD23378A78}">
  <ds:schemaRefs>
    <ds:schemaRef ds:uri="585887f8-f000-491b-a0e9-a12493ed92fa"/>
    <ds:schemaRef ds:uri="bf7a6c9d-2b16-47b8-8d05-b2d19fdf841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506E484-3208-446C-B359-FA43F5C6438E}">
  <ds:schemaRefs>
    <ds:schemaRef ds:uri="http://schemas.microsoft.com/sharepoint/v3/contenttype/forms"/>
  </ds:schemaRefs>
</ds:datastoreItem>
</file>

<file path=customXml/itemProps3.xml><?xml version="1.0" encoding="utf-8"?>
<ds:datastoreItem xmlns:ds="http://schemas.openxmlformats.org/officeDocument/2006/customXml" ds:itemID="{DCCDCF9F-6E04-46DF-83BE-06C49F84CD04}">
  <ds:schemaRefs>
    <ds:schemaRef ds:uri="http://schemas.microsoft.com/office/2006/documentManagement/types"/>
    <ds:schemaRef ds:uri="585887f8-f000-491b-a0e9-a12493ed92fa"/>
    <ds:schemaRef ds:uri="http://purl.org/dc/elements/1.1/"/>
    <ds:schemaRef ds:uri="http://www.w3.org/XML/1998/namespace"/>
    <ds:schemaRef ds:uri="http://schemas.microsoft.com/sharepoint/v3"/>
    <ds:schemaRef ds:uri="http://purl.org/dc/terms/"/>
    <ds:schemaRef ds:uri="http://schemas.microsoft.com/office/infopath/2007/PartnerControls"/>
    <ds:schemaRef ds:uri="http://schemas.openxmlformats.org/package/2006/metadata/core-properties"/>
    <ds:schemaRef ds:uri="bf7a6c9d-2b16-47b8-8d05-b2d19fdf8416"/>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4_3_RESEARCH_VIRUS_deutsch</Template>
  <TotalTime>0</TotalTime>
  <Words>3514</Words>
  <Application>Microsoft Office PowerPoint</Application>
  <PresentationFormat>Benutzerdefiniert</PresentationFormat>
  <Paragraphs>201</Paragraphs>
  <Slides>29</Slides>
  <Notes>6</Notes>
  <HiddenSlides>2</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29</vt:i4>
      </vt:variant>
    </vt:vector>
  </HeadingPairs>
  <TitlesOfParts>
    <vt:vector size="40" baseType="lpstr">
      <vt:lpstr>Amalia</vt:lpstr>
      <vt:lpstr>Arial</vt:lpstr>
      <vt:lpstr>Bisnode Sans</vt:lpstr>
      <vt:lpstr>Calibri</vt:lpstr>
      <vt:lpstr>Calibri Light</vt:lpstr>
      <vt:lpstr>Century Gothic</vt:lpstr>
      <vt:lpstr>Symbol</vt:lpstr>
      <vt:lpstr>Wingdings</vt:lpstr>
      <vt:lpstr>RBI Master</vt:lpstr>
      <vt:lpstr>Benutzerdefiniertes Design</vt:lpstr>
      <vt:lpstr>think-cell Slide</vt:lpstr>
      <vt:lpstr>Zeitenwende – in Geopolitik, bei Inflation 2023 und am Immobilienmarkt </vt:lpstr>
      <vt:lpstr>PowerPoint-Präsentation</vt:lpstr>
      <vt:lpstr>JAHRESANFANG - Ein klarer Blick ist gefragt!</vt:lpstr>
      <vt:lpstr>GEOPOLITISCHE ZEITENWENDE  als Risikofaktor für 2023!</vt:lpstr>
      <vt:lpstr>INFLATION: NEUE PERIODE durch strukturelle Änderungen führt zu höherem Inflationspotenzial</vt:lpstr>
      <vt:lpstr>KLIMAWANDEL in Österreich mehr als doppelt so stark wie global</vt:lpstr>
      <vt:lpstr>TEMPERATURABWEICHUNGEN Extreme Wärme in Europa, Amerika und Asien</vt:lpstr>
      <vt:lpstr>ERDGAS-PREIS IN EUROPA Niveau von Q4 2021 erreicht, milde Witterung als Hauptfaktor</vt:lpstr>
      <vt:lpstr>GESAMTRATE VERSUS KERNRATE Inflation in der Eurozone wird breiter</vt:lpstr>
      <vt:lpstr>KONJUNKTURAUSBLICK: UMFRAGEINDIKATOREN Bodenbildung zeichnet sich ab</vt:lpstr>
      <vt:lpstr>ÖSTERREICH: NACH REZESSION ZU JAHRESBEGINN folgt Konjunkturerholung im zweiten Halbjahr</vt:lpstr>
      <vt:lpstr>GELDPOLITIK USA &amp; EUROPA Langfristig gewisse Gleichförmigkeit der Geldpolitik (mit Verzögerung)</vt:lpstr>
      <vt:lpstr>RENTENMARKT EUROZONE Atemberaubender Renditeanstieg, aber auch Spread-Ausweitung in AT ggü. DE</vt:lpstr>
      <vt:lpstr>IMMOBILIENKREDITE: ZINSWENDE  treibt Hypothekarzinsen nach oben</vt:lpstr>
      <vt:lpstr>ÖSTERREICH: WOHNIMMOBILIENMARKT &amp; DIE ZINSWENDE Preisliche Vollbremsung in der zweiten Jahreshälfte 2022</vt:lpstr>
      <vt:lpstr>BAUPREISE: WOHNUNGS/SIEDLUNGSBAU RÜCKLÄUFIG Straßen- und Brückenbau mit höherer Inflation</vt:lpstr>
      <vt:lpstr>LEISTBARKEIT: ZINSSEITIGER RÜCKENWIND WIRD ZU GEGENWIND Günstigere Bundesländer mit „Wettbewerbsvorteil“ gegenüber teuren Pflastern</vt:lpstr>
      <vt:lpstr>TIROL: JE KNAPPER DER GRUND, DESTO HÖHER DER PREIS Bevölkerung: Großes wird schneller noch größer</vt:lpstr>
      <vt:lpstr>AUSBLICK 2023  Es wird heller</vt:lpstr>
      <vt:lpstr>AUSBLICK 2023 Trendwende in Konjunktur, Inflation und Immobilienmärkten</vt:lpstr>
      <vt:lpstr>INFLATION: NEUE PERIODE durch strukturelle Änderungen führt zu höherem Inflationspotenzial</vt:lpstr>
      <vt:lpstr>STROMPREIS IN EUROPA Noch deutlich über Anfang 2022</vt:lpstr>
      <vt:lpstr>PowerPoint-Präsentation</vt:lpstr>
      <vt:lpstr>Disclaimer Finanzanalyse</vt:lpstr>
      <vt:lpstr>Disclaimer</vt:lpstr>
      <vt:lpstr>Disclaimer </vt:lpstr>
      <vt:lpstr>Disclaimer </vt:lpstr>
      <vt:lpstr>Impressum</vt:lpstr>
      <vt:lpstr>Impressu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als Spielverderber für Konjunktur und Finanzmärkte?</dc:title>
  <dc:creator>Birgit BACHHOFNER</dc:creator>
  <cp:lastModifiedBy>Peter BREZINSCHEK</cp:lastModifiedBy>
  <cp:revision>6</cp:revision>
  <cp:lastPrinted>2023-01-17T14:15:26Z</cp:lastPrinted>
  <dcterms:created xsi:type="dcterms:W3CDTF">2020-09-17T09:15:43Z</dcterms:created>
  <dcterms:modified xsi:type="dcterms:W3CDTF">2023-01-17T16:0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C38B1F97DFB148BB32F60B0119F400</vt:lpwstr>
  </property>
  <property fmtid="{D5CDD505-2E9C-101B-9397-08002B2CF9AE}" pid="3" name="MSIP_Label_2a6524ed-fb1a-49fd-bafe-15c5e5ffd047_SiteId">
    <vt:lpwstr>9b511fda-f0b1-43a5-b06e-1e720f64520a</vt:lpwstr>
  </property>
  <property fmtid="{D5CDD505-2E9C-101B-9397-08002B2CF9AE}" pid="4" name="MSIP_Label_2a6524ed-fb1a-49fd-bafe-15c5e5ffd047_ActionId">
    <vt:lpwstr>d83de92e-e009-4b37-82f6-334e95ecd284</vt:lpwstr>
  </property>
  <property fmtid="{D5CDD505-2E9C-101B-9397-08002B2CF9AE}" pid="5" name="MSIP_Label_2a6524ed-fb1a-49fd-bafe-15c5e5ffd047_Enabled">
    <vt:lpwstr>true</vt:lpwstr>
  </property>
  <property fmtid="{D5CDD505-2E9C-101B-9397-08002B2CF9AE}" pid="6" name="MSIP_Label_2a6524ed-fb1a-49fd-bafe-15c5e5ffd047_SetDate">
    <vt:lpwstr>2020-10-15T13:49:18Z</vt:lpwstr>
  </property>
  <property fmtid="{D5CDD505-2E9C-101B-9397-08002B2CF9AE}" pid="7" name="MSIP_Label_2a6524ed-fb1a-49fd-bafe-15c5e5ffd047_Method">
    <vt:lpwstr>Privileged</vt:lpwstr>
  </property>
  <property fmtid="{D5CDD505-2E9C-101B-9397-08002B2CF9AE}" pid="8" name="MSIP_Label_2a6524ed-fb1a-49fd-bafe-15c5e5ffd047_ContentBits">
    <vt:lpwstr>0</vt:lpwstr>
  </property>
  <property fmtid="{D5CDD505-2E9C-101B-9397-08002B2CF9AE}" pid="9" name="MSIP_Label_2a6524ed-fb1a-49fd-bafe-15c5e5ffd047_Name">
    <vt:lpwstr>Internal</vt:lpwstr>
  </property>
  <property fmtid="{D5CDD505-2E9C-101B-9397-08002B2CF9AE}" pid="10" name="MSIP_Label_b349cdc7-4728-4c12-99c8-6f867233dcf1_Enabled">
    <vt:lpwstr>true</vt:lpwstr>
  </property>
  <property fmtid="{D5CDD505-2E9C-101B-9397-08002B2CF9AE}" pid="11" name="MSIP_Label_b349cdc7-4728-4c12-99c8-6f867233dcf1_SetDate">
    <vt:lpwstr>2022-05-12T07:40:07Z</vt:lpwstr>
  </property>
  <property fmtid="{D5CDD505-2E9C-101B-9397-08002B2CF9AE}" pid="12" name="MSIP_Label_b349cdc7-4728-4c12-99c8-6f867233dcf1_Method">
    <vt:lpwstr>Standard</vt:lpwstr>
  </property>
  <property fmtid="{D5CDD505-2E9C-101B-9397-08002B2CF9AE}" pid="13" name="MSIP_Label_b349cdc7-4728-4c12-99c8-6f867233dcf1_Name">
    <vt:lpwstr>b349cdc7-4728-4c12-99c8-6f867233dcf1</vt:lpwstr>
  </property>
  <property fmtid="{D5CDD505-2E9C-101B-9397-08002B2CF9AE}" pid="14" name="MSIP_Label_b349cdc7-4728-4c12-99c8-6f867233dcf1_SiteId">
    <vt:lpwstr>73994ef1-7e27-447e-9989-2b1e5b14a17c</vt:lpwstr>
  </property>
  <property fmtid="{D5CDD505-2E9C-101B-9397-08002B2CF9AE}" pid="15" name="MSIP_Label_b349cdc7-4728-4c12-99c8-6f867233dcf1_ActionId">
    <vt:lpwstr>ee9a8a08-0f8a-4e60-8e2b-ae107dd3f4a0</vt:lpwstr>
  </property>
  <property fmtid="{D5CDD505-2E9C-101B-9397-08002B2CF9AE}" pid="16" name="MSIP_Label_b349cdc7-4728-4c12-99c8-6f867233dcf1_ContentBits">
    <vt:lpwstr>0</vt:lpwstr>
  </property>
  <property fmtid="{D5CDD505-2E9C-101B-9397-08002B2CF9AE}" pid="17" name="MediaServiceImageTags">
    <vt:lpwstr/>
  </property>
</Properties>
</file>